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50.xml" ContentType="application/vnd.openxmlformats-officedocument.presentationml.slideLayout+xml"/>
  <Override PartName="/ppt/theme/theme8.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9.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867" r:id="rId4"/>
    <p:sldMasterId id="2147484031" r:id="rId5"/>
    <p:sldMasterId id="2147484098" r:id="rId6"/>
    <p:sldMasterId id="2147484160" r:id="rId7"/>
    <p:sldMasterId id="2147484277" r:id="rId8"/>
    <p:sldMasterId id="2147484300" r:id="rId9"/>
    <p:sldMasterId id="2147484387" r:id="rId10"/>
    <p:sldMasterId id="2147484401" r:id="rId11"/>
    <p:sldMasterId id="2147484222" r:id="rId12"/>
  </p:sldMasterIdLst>
  <p:notesMasterIdLst>
    <p:notesMasterId r:id="rId24"/>
  </p:notesMasterIdLst>
  <p:handoutMasterIdLst>
    <p:handoutMasterId r:id="rId25"/>
  </p:handoutMasterIdLst>
  <p:sldIdLst>
    <p:sldId id="634" r:id="rId13"/>
    <p:sldId id="546" r:id="rId14"/>
    <p:sldId id="635" r:id="rId15"/>
    <p:sldId id="636" r:id="rId16"/>
    <p:sldId id="637" r:id="rId17"/>
    <p:sldId id="638" r:id="rId18"/>
    <p:sldId id="639" r:id="rId19"/>
    <p:sldId id="640" r:id="rId20"/>
    <p:sldId id="641" r:id="rId21"/>
    <p:sldId id="642" r:id="rId22"/>
    <p:sldId id="572" r:id="rId23"/>
  </p:sldIdLst>
  <p:sldSz cx="9144000" cy="5143500" type="screen16x9"/>
  <p:notesSz cx="6797675" cy="9872663"/>
  <p:custDataLst>
    <p:tags r:id="rId26"/>
  </p:custDataLst>
  <p:defaultTex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Getting Started" id="{5E8F947B-3A3C-A244-800B-972EF6BE8074}">
          <p14:sldIdLst/>
        </p14:section>
        <p14:section name="Cover Options" id="{FEDDC3AB-36C9-DE48-A32F-CF2AFAD3D54B}">
          <p14:sldIdLst>
            <p14:sldId id="634"/>
          </p14:sldIdLst>
        </p14:section>
        <p14:section name="Divider Slides" id="{3BAFB4F0-8CFB-C04F-B49D-673A6F2E6E00}">
          <p14:sldIdLst/>
        </p14:section>
        <p14:section name="Agenda Slides" id="{7EE60F50-9C5B-2444-8A1A-FD421120EBFC}">
          <p14:sldIdLst>
            <p14:sldId id="546"/>
            <p14:sldId id="635"/>
            <p14:sldId id="636"/>
            <p14:sldId id="637"/>
            <p14:sldId id="638"/>
            <p14:sldId id="639"/>
            <p14:sldId id="640"/>
            <p14:sldId id="641"/>
          </p14:sldIdLst>
        </p14:section>
        <p14:section name="Presentation Slides" id="{770B4C49-7919-E14C-B4DD-A5A298F042A5}">
          <p14:sldIdLst/>
        </p14:section>
        <p14:section name="Report Style Slides" id="{48315287-8D5C-4440-8336-7C9D383E2794}">
          <p14:sldIdLst/>
        </p14:section>
        <p14:section name="Chart slides" id="{1ACAAF45-C9BC-114E-B440-FF5BAF1BF1E7}">
          <p14:sldIdLst/>
        </p14:section>
        <p14:section name="Bio" id="{38F469EA-7D92-4472-A81B-72C1056246A1}">
          <p14:sldIdLst/>
        </p14:section>
        <p14:section name="End Slides" id="{1075D937-C283-3A4D-AA83-000945D8F145}">
          <p14:sldIdLst>
            <p14:sldId id="642"/>
            <p14:sldId id="57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71D83F-09D6-A112-BF09-5518C1D8EB6E}" name="Dudman, Nick" initials="DN" userId="S::I40369@verisk.com::268afee4-1326-4892-9175-8a05748b196f" providerId="AD"/>
  <p188:author id="{5F83F589-2368-90D2-6F80-2C525BE9B9CA}" name="Unsworth, Craig" initials="" userId="S::I81780@verisk.com::abb7f42c-6bee-4e5f-b9fc-bfa5f1c8d012" providerId="AD"/>
  <p188:author id="{AC041BE4-ED6D-02EF-1270-1E56BF7E4A49}" name="Helen Tong (Siegel+Gale London)" initials="HT" userId="S::helen.tong@siegelgale.com::3f4af5cb-e25f-4d7a-8c9d-ae605b99a3f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D9D9"/>
    <a:srgbClr val="A1A1A1"/>
    <a:srgbClr val="A8011E"/>
    <a:srgbClr val="205B2E"/>
    <a:srgbClr val="F57D01"/>
    <a:srgbClr val="F94355"/>
    <a:srgbClr val="96CDE2"/>
    <a:srgbClr val="A6A6A6"/>
    <a:srgbClr val="B39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51" autoAdjust="0"/>
    <p:restoredTop sz="97072" autoAdjust="0"/>
  </p:normalViewPr>
  <p:slideViewPr>
    <p:cSldViewPr snapToGrid="0">
      <p:cViewPr varScale="1">
        <p:scale>
          <a:sx n="151" d="100"/>
          <a:sy n="151" d="100"/>
        </p:scale>
        <p:origin x="672" y="144"/>
      </p:cViewPr>
      <p:guideLst/>
    </p:cSldViewPr>
  </p:slideViewPr>
  <p:outlineViewPr>
    <p:cViewPr>
      <p:scale>
        <a:sx n="33" d="100"/>
        <a:sy n="33" d="100"/>
      </p:scale>
      <p:origin x="0" y="-41370"/>
    </p:cViewPr>
  </p:outlineViewPr>
  <p:notesTextViewPr>
    <p:cViewPr>
      <p:scale>
        <a:sx n="3" d="2"/>
        <a:sy n="3" d="2"/>
      </p:scale>
      <p:origin x="0" y="0"/>
    </p:cViewPr>
  </p:notesTextViewPr>
  <p:sorterViewPr>
    <p:cViewPr>
      <p:scale>
        <a:sx n="78" d="100"/>
        <a:sy n="78" d="100"/>
      </p:scale>
      <p:origin x="0" y="-8510"/>
    </p:cViewPr>
  </p:sorterViewPr>
  <p:notesViewPr>
    <p:cSldViewPr snapToGrid="0">
      <p:cViewPr varScale="1">
        <p:scale>
          <a:sx n="82" d="100"/>
          <a:sy n="82" d="100"/>
        </p:scale>
        <p:origin x="-3954" y="-8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urner, Jason" userId="ce41a2ea-c412-440b-915b-e54837be704f" providerId="ADAL" clId="{8CDF2589-2E55-4533-8D49-5557363F5655}"/>
    <pc:docChg chg="modSld modMainMaster">
      <pc:chgData name="Turner, Jason" userId="ce41a2ea-c412-440b-915b-e54837be704f" providerId="ADAL" clId="{8CDF2589-2E55-4533-8D49-5557363F5655}" dt="2023-07-17T21:37:18.497" v="12" actId="2696"/>
      <pc:docMkLst>
        <pc:docMk/>
      </pc:docMkLst>
      <pc:sldMasterChg chg="addSldLayout delSldLayout modSldLayout">
        <pc:chgData name="Turner, Jason" userId="ce41a2ea-c412-440b-915b-e54837be704f" providerId="ADAL" clId="{8CDF2589-2E55-4533-8D49-5557363F5655}" dt="2023-07-17T21:37:00.463" v="11" actId="2696"/>
        <pc:sldMasterMkLst>
          <pc:docMk/>
          <pc:sldMasterMk cId="1397961611" sldId="2147483867"/>
        </pc:sldMasterMkLst>
        <pc:sldLayoutChg chg="add del mod modTransition">
          <pc:chgData name="Turner, Jason" userId="ce41a2ea-c412-440b-915b-e54837be704f" providerId="ADAL" clId="{8CDF2589-2E55-4533-8D49-5557363F5655}" dt="2023-07-17T21:37:00.463" v="11" actId="2696"/>
          <pc:sldLayoutMkLst>
            <pc:docMk/>
            <pc:sldMasterMk cId="1397961611" sldId="2147483867"/>
            <pc:sldLayoutMk cId="1793360441" sldId="2147483947"/>
          </pc:sldLayoutMkLst>
        </pc:sldLayoutChg>
        <pc:sldLayoutChg chg="del">
          <pc:chgData name="Turner, Jason" userId="ce41a2ea-c412-440b-915b-e54837be704f" providerId="ADAL" clId="{8CDF2589-2E55-4533-8D49-5557363F5655}" dt="2023-07-17T21:36:17.447" v="0" actId="2696"/>
          <pc:sldLayoutMkLst>
            <pc:docMk/>
            <pc:sldMasterMk cId="1397961611" sldId="2147483867"/>
            <pc:sldLayoutMk cId="2821885970" sldId="2147483948"/>
          </pc:sldLayoutMkLst>
        </pc:sldLayoutChg>
        <pc:sldLayoutChg chg="del">
          <pc:chgData name="Turner, Jason" userId="ce41a2ea-c412-440b-915b-e54837be704f" providerId="ADAL" clId="{8CDF2589-2E55-4533-8D49-5557363F5655}" dt="2023-07-17T21:36:17.487" v="2" actId="2696"/>
          <pc:sldLayoutMkLst>
            <pc:docMk/>
            <pc:sldMasterMk cId="1397961611" sldId="2147483867"/>
            <pc:sldLayoutMk cId="2888351747" sldId="2147483954"/>
          </pc:sldLayoutMkLst>
        </pc:sldLayoutChg>
        <pc:sldLayoutChg chg="del">
          <pc:chgData name="Turner, Jason" userId="ce41a2ea-c412-440b-915b-e54837be704f" providerId="ADAL" clId="{8CDF2589-2E55-4533-8D49-5557363F5655}" dt="2023-07-17T21:36:17.468" v="1" actId="2696"/>
          <pc:sldLayoutMkLst>
            <pc:docMk/>
            <pc:sldMasterMk cId="1397961611" sldId="2147483867"/>
            <pc:sldLayoutMk cId="3306476556" sldId="2147483981"/>
          </pc:sldLayoutMkLst>
        </pc:sldLayoutChg>
        <pc:sldLayoutChg chg="del">
          <pc:chgData name="Turner, Jason" userId="ce41a2ea-c412-440b-915b-e54837be704f" providerId="ADAL" clId="{8CDF2589-2E55-4533-8D49-5557363F5655}" dt="2023-07-17T21:36:17.507" v="3" actId="2696"/>
          <pc:sldLayoutMkLst>
            <pc:docMk/>
            <pc:sldMasterMk cId="1397961611" sldId="2147483867"/>
            <pc:sldLayoutMk cId="4173361893" sldId="2147483984"/>
          </pc:sldLayoutMkLst>
        </pc:sldLayoutChg>
      </pc:sldMasterChg>
      <pc:sldMasterChg chg="delSldLayout">
        <pc:chgData name="Turner, Jason" userId="ce41a2ea-c412-440b-915b-e54837be704f" providerId="ADAL" clId="{8CDF2589-2E55-4533-8D49-5557363F5655}" dt="2023-07-17T21:36:46.284" v="9" actId="2696"/>
        <pc:sldMasterMkLst>
          <pc:docMk/>
          <pc:sldMasterMk cId="1364023282" sldId="2147484031"/>
        </pc:sldMasterMkLst>
        <pc:sldLayoutChg chg="del">
          <pc:chgData name="Turner, Jason" userId="ce41a2ea-c412-440b-915b-e54837be704f" providerId="ADAL" clId="{8CDF2589-2E55-4533-8D49-5557363F5655}" dt="2023-07-17T21:36:46.230" v="5" actId="2696"/>
          <pc:sldLayoutMkLst>
            <pc:docMk/>
            <pc:sldMasterMk cId="1364023282" sldId="2147484031"/>
            <pc:sldLayoutMk cId="1311489965" sldId="2147484037"/>
          </pc:sldLayoutMkLst>
        </pc:sldLayoutChg>
        <pc:sldLayoutChg chg="del">
          <pc:chgData name="Turner, Jason" userId="ce41a2ea-c412-440b-915b-e54837be704f" providerId="ADAL" clId="{8CDF2589-2E55-4533-8D49-5557363F5655}" dt="2023-07-17T21:36:46.252" v="6" actId="2696"/>
          <pc:sldLayoutMkLst>
            <pc:docMk/>
            <pc:sldMasterMk cId="1364023282" sldId="2147484031"/>
            <pc:sldLayoutMk cId="966793926" sldId="2147484038"/>
          </pc:sldLayoutMkLst>
        </pc:sldLayoutChg>
        <pc:sldLayoutChg chg="del">
          <pc:chgData name="Turner, Jason" userId="ce41a2ea-c412-440b-915b-e54837be704f" providerId="ADAL" clId="{8CDF2589-2E55-4533-8D49-5557363F5655}" dt="2023-07-17T21:36:24.274" v="4" actId="2696"/>
          <pc:sldLayoutMkLst>
            <pc:docMk/>
            <pc:sldMasterMk cId="1364023282" sldId="2147484031"/>
            <pc:sldLayoutMk cId="4040946232" sldId="2147484039"/>
          </pc:sldLayoutMkLst>
        </pc:sldLayoutChg>
        <pc:sldLayoutChg chg="del">
          <pc:chgData name="Turner, Jason" userId="ce41a2ea-c412-440b-915b-e54837be704f" providerId="ADAL" clId="{8CDF2589-2E55-4533-8D49-5557363F5655}" dt="2023-07-17T21:36:46.257" v="7" actId="2696"/>
          <pc:sldLayoutMkLst>
            <pc:docMk/>
            <pc:sldMasterMk cId="1364023282" sldId="2147484031"/>
            <pc:sldLayoutMk cId="292630858" sldId="2147484040"/>
          </pc:sldLayoutMkLst>
        </pc:sldLayoutChg>
        <pc:sldLayoutChg chg="del">
          <pc:chgData name="Turner, Jason" userId="ce41a2ea-c412-440b-915b-e54837be704f" providerId="ADAL" clId="{8CDF2589-2E55-4533-8D49-5557363F5655}" dt="2023-07-17T21:36:46.261" v="8" actId="2696"/>
          <pc:sldLayoutMkLst>
            <pc:docMk/>
            <pc:sldMasterMk cId="1364023282" sldId="2147484031"/>
            <pc:sldLayoutMk cId="3590534258" sldId="2147484041"/>
          </pc:sldLayoutMkLst>
        </pc:sldLayoutChg>
        <pc:sldLayoutChg chg="del">
          <pc:chgData name="Turner, Jason" userId="ce41a2ea-c412-440b-915b-e54837be704f" providerId="ADAL" clId="{8CDF2589-2E55-4533-8D49-5557363F5655}" dt="2023-07-17T21:36:46.284" v="9" actId="2696"/>
          <pc:sldLayoutMkLst>
            <pc:docMk/>
            <pc:sldMasterMk cId="1364023282" sldId="2147484031"/>
            <pc:sldLayoutMk cId="294818414" sldId="2147484042"/>
          </pc:sldLayoutMkLst>
        </pc:sldLayoutChg>
      </pc:sldMasterChg>
      <pc:sldMasterChg chg="delSldLayout">
        <pc:chgData name="Turner, Jason" userId="ce41a2ea-c412-440b-915b-e54837be704f" providerId="ADAL" clId="{8CDF2589-2E55-4533-8D49-5557363F5655}" dt="2023-07-17T21:37:18.497" v="12" actId="2696"/>
        <pc:sldMasterMkLst>
          <pc:docMk/>
          <pc:sldMasterMk cId="899976049" sldId="2147484098"/>
        </pc:sldMasterMkLst>
        <pc:sldLayoutChg chg="del">
          <pc:chgData name="Turner, Jason" userId="ce41a2ea-c412-440b-915b-e54837be704f" providerId="ADAL" clId="{8CDF2589-2E55-4533-8D49-5557363F5655}" dt="2023-07-17T21:37:18.497" v="12" actId="2696"/>
          <pc:sldLayoutMkLst>
            <pc:docMk/>
            <pc:sldMasterMk cId="899976049" sldId="2147484098"/>
            <pc:sldLayoutMk cId="478506716" sldId="214748410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6400" cy="494107"/>
          </a:xfrm>
          <a:prstGeom prst="rect">
            <a:avLst/>
          </a:prstGeom>
        </p:spPr>
        <p:txBody>
          <a:bodyPr vert="horz" lIns="91129" tIns="45564" rIns="91129" bIns="45564" rtlCol="0"/>
          <a:lstStyle>
            <a:lvl1pPr algn="l">
              <a:defRPr sz="1200"/>
            </a:lvl1pPr>
          </a:lstStyle>
          <a:p>
            <a:pPr>
              <a:defRPr/>
            </a:pPr>
            <a:endParaRPr lang="en-US"/>
          </a:p>
        </p:txBody>
      </p:sp>
      <p:sp>
        <p:nvSpPr>
          <p:cNvPr id="3" name="Date Placeholder 2"/>
          <p:cNvSpPr>
            <a:spLocks noGrp="1"/>
          </p:cNvSpPr>
          <p:nvPr>
            <p:ph type="dt" sz="quarter" idx="1"/>
          </p:nvPr>
        </p:nvSpPr>
        <p:spPr>
          <a:xfrm>
            <a:off x="3849689" y="0"/>
            <a:ext cx="2946400" cy="494107"/>
          </a:xfrm>
          <a:prstGeom prst="rect">
            <a:avLst/>
          </a:prstGeom>
        </p:spPr>
        <p:txBody>
          <a:bodyPr vert="horz" lIns="91129" tIns="45564" rIns="91129" bIns="45564" rtlCol="0"/>
          <a:lstStyle>
            <a:lvl1pPr algn="r">
              <a:defRPr sz="1200"/>
            </a:lvl1pPr>
          </a:lstStyle>
          <a:p>
            <a:pPr>
              <a:defRPr/>
            </a:pPr>
            <a:fld id="{7E22D77D-A15A-2541-B36F-01DFC6F2116E}" type="datetimeFigureOut">
              <a:rPr lang="en-US"/>
              <a:pPr>
                <a:defRPr/>
              </a:pPr>
              <a:t>7/17/2023</a:t>
            </a:fld>
            <a:endParaRPr lang="en-US"/>
          </a:p>
        </p:txBody>
      </p:sp>
      <p:sp>
        <p:nvSpPr>
          <p:cNvPr id="4" name="Footer Placeholder 3"/>
          <p:cNvSpPr>
            <a:spLocks noGrp="1"/>
          </p:cNvSpPr>
          <p:nvPr>
            <p:ph type="ftr" sz="quarter" idx="2"/>
          </p:nvPr>
        </p:nvSpPr>
        <p:spPr>
          <a:xfrm>
            <a:off x="2" y="9376979"/>
            <a:ext cx="2946400" cy="494107"/>
          </a:xfrm>
          <a:prstGeom prst="rect">
            <a:avLst/>
          </a:prstGeom>
        </p:spPr>
        <p:txBody>
          <a:bodyPr vert="horz" lIns="91129" tIns="45564" rIns="91129" bIns="45564"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849689" y="9376979"/>
            <a:ext cx="2946400" cy="494107"/>
          </a:xfrm>
          <a:prstGeom prst="rect">
            <a:avLst/>
          </a:prstGeom>
        </p:spPr>
        <p:txBody>
          <a:bodyPr vert="horz" lIns="91129" tIns="45564" rIns="91129" bIns="45564" rtlCol="0" anchor="b"/>
          <a:lstStyle>
            <a:lvl1pPr algn="r">
              <a:defRPr sz="1200"/>
            </a:lvl1pPr>
          </a:lstStyle>
          <a:p>
            <a:pPr>
              <a:defRPr/>
            </a:pPr>
            <a:fld id="{DA44EF54-7700-734C-BD24-ADE84D07B367}" type="slidenum">
              <a:rPr lang="en-US"/>
              <a:pPr>
                <a:defRPr/>
              </a:pPr>
              <a:t>‹#›</a:t>
            </a:fld>
            <a:endParaRPr lang="en-US"/>
          </a:p>
        </p:txBody>
      </p:sp>
    </p:spTree>
    <p:extLst>
      <p:ext uri="{BB962C8B-B14F-4D97-AF65-F5344CB8AC3E}">
        <p14:creationId xmlns:p14="http://schemas.microsoft.com/office/powerpoint/2010/main" val="18215861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2" y="0"/>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lvl1pPr>
              <a:defRPr sz="1200" b="0" baseline="0">
                <a:cs typeface="+mn-cs"/>
              </a:defRPr>
            </a:lvl1pPr>
          </a:lstStyle>
          <a:p>
            <a:pPr>
              <a:defRPr/>
            </a:pPr>
            <a:endParaRPr lang="en-GB"/>
          </a:p>
        </p:txBody>
      </p:sp>
      <p:sp>
        <p:nvSpPr>
          <p:cNvPr id="4099" name="Rectangle 3"/>
          <p:cNvSpPr>
            <a:spLocks noGrp="1" noChangeArrowheads="1"/>
          </p:cNvSpPr>
          <p:nvPr>
            <p:ph type="dt" idx="1"/>
          </p:nvPr>
        </p:nvSpPr>
        <p:spPr bwMode="auto">
          <a:xfrm>
            <a:off x="3851276" y="0"/>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lvl1pPr algn="r">
              <a:defRPr sz="1200" b="0" baseline="0">
                <a:cs typeface="+mn-cs"/>
              </a:defRPr>
            </a:lvl1pPr>
          </a:lstStyle>
          <a:p>
            <a:pPr>
              <a:defRPr/>
            </a:pPr>
            <a:endParaRPr lang="en-GB"/>
          </a:p>
        </p:txBody>
      </p:sp>
      <p:sp>
        <p:nvSpPr>
          <p:cNvPr id="4100" name="Rectangle 4"/>
          <p:cNvSpPr>
            <a:spLocks noGrp="1" noRot="1" noChangeAspect="1" noChangeArrowheads="1" noTextEdit="1"/>
          </p:cNvSpPr>
          <p:nvPr>
            <p:ph type="sldImg" idx="2"/>
          </p:nvPr>
        </p:nvSpPr>
        <p:spPr bwMode="auto">
          <a:xfrm>
            <a:off x="111125" y="741363"/>
            <a:ext cx="6578600" cy="3700462"/>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906464" y="4690070"/>
            <a:ext cx="4984750" cy="4442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102" name="Rectangle 6"/>
          <p:cNvSpPr>
            <a:spLocks noGrp="1" noChangeArrowheads="1"/>
          </p:cNvSpPr>
          <p:nvPr>
            <p:ph type="ftr" sz="quarter" idx="4"/>
          </p:nvPr>
        </p:nvSpPr>
        <p:spPr bwMode="auto">
          <a:xfrm>
            <a:off x="2" y="9378558"/>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b" anchorCtr="0" compatLnSpc="1">
            <a:prstTxWarp prst="textNoShape">
              <a:avLst/>
            </a:prstTxWarp>
          </a:bodyPr>
          <a:lstStyle>
            <a:lvl1pPr>
              <a:defRPr sz="1200" b="0" baseline="0">
                <a:cs typeface="+mn-cs"/>
              </a:defRPr>
            </a:lvl1pPr>
          </a:lstStyle>
          <a:p>
            <a:pPr>
              <a:defRPr/>
            </a:pPr>
            <a:endParaRPr lang="en-GB"/>
          </a:p>
        </p:txBody>
      </p:sp>
      <p:sp>
        <p:nvSpPr>
          <p:cNvPr id="4103" name="Rectangle 7"/>
          <p:cNvSpPr>
            <a:spLocks noGrp="1" noChangeArrowheads="1"/>
          </p:cNvSpPr>
          <p:nvPr>
            <p:ph type="sldNum" sz="quarter" idx="5"/>
          </p:nvPr>
        </p:nvSpPr>
        <p:spPr bwMode="auto">
          <a:xfrm>
            <a:off x="3851276" y="9378558"/>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b" anchorCtr="0" compatLnSpc="1">
            <a:prstTxWarp prst="textNoShape">
              <a:avLst/>
            </a:prstTxWarp>
          </a:bodyPr>
          <a:lstStyle>
            <a:lvl1pPr algn="r">
              <a:defRPr sz="1200" b="0" baseline="0">
                <a:cs typeface="+mn-cs"/>
              </a:defRPr>
            </a:lvl1pPr>
          </a:lstStyle>
          <a:p>
            <a:pPr>
              <a:defRPr/>
            </a:pPr>
            <a:fld id="{40F4777F-94E5-4741-8AFC-A37ED886137D}" type="slidenum">
              <a:rPr lang="en-GB"/>
              <a:pPr>
                <a:defRPr/>
              </a:pPr>
              <a:t>‹#›</a:t>
            </a:fld>
            <a:endParaRPr lang="en-GB"/>
          </a:p>
        </p:txBody>
      </p:sp>
    </p:spTree>
    <p:extLst>
      <p:ext uri="{BB962C8B-B14F-4D97-AF65-F5344CB8AC3E}">
        <p14:creationId xmlns:p14="http://schemas.microsoft.com/office/powerpoint/2010/main" val="7925685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a:solidFill>
          <a:schemeClr val="tx1"/>
        </a:solidFill>
        <a:latin typeface="Arial" charset="0"/>
        <a:ea typeface="ＭＳ Ｐゴシック" charset="0"/>
        <a:cs typeface="ＭＳ Ｐゴシック" charset="0"/>
      </a:defRPr>
    </a:lvl1pPr>
    <a:lvl2pPr marL="388937" algn="l" rtl="0" eaLnBrk="0" fontAlgn="base" hangingPunct="0">
      <a:spcBef>
        <a:spcPct val="30000"/>
      </a:spcBef>
      <a:spcAft>
        <a:spcPct val="0"/>
      </a:spcAft>
      <a:defRPr sz="1000" kern="1200">
        <a:solidFill>
          <a:schemeClr val="tx1"/>
        </a:solidFill>
        <a:latin typeface="Arial" charset="0"/>
        <a:ea typeface="ＭＳ Ｐゴシック" charset="0"/>
        <a:cs typeface="+mn-cs"/>
      </a:defRPr>
    </a:lvl2pPr>
    <a:lvl3pPr marL="779116" algn="l" rtl="0" eaLnBrk="0" fontAlgn="base" hangingPunct="0">
      <a:spcBef>
        <a:spcPct val="30000"/>
      </a:spcBef>
      <a:spcAft>
        <a:spcPct val="0"/>
      </a:spcAft>
      <a:defRPr sz="1000" kern="1200">
        <a:solidFill>
          <a:schemeClr val="tx1"/>
        </a:solidFill>
        <a:latin typeface="Arial" charset="0"/>
        <a:ea typeface="ＭＳ Ｐゴシック" charset="0"/>
        <a:cs typeface="+mn-cs"/>
      </a:defRPr>
    </a:lvl3pPr>
    <a:lvl4pPr marL="1168053" algn="l" rtl="0" eaLnBrk="0" fontAlgn="base" hangingPunct="0">
      <a:spcBef>
        <a:spcPct val="30000"/>
      </a:spcBef>
      <a:spcAft>
        <a:spcPct val="0"/>
      </a:spcAft>
      <a:defRPr sz="1000" kern="1200">
        <a:solidFill>
          <a:schemeClr val="tx1"/>
        </a:solidFill>
        <a:latin typeface="Arial" charset="0"/>
        <a:ea typeface="ＭＳ Ｐゴシック" charset="0"/>
        <a:cs typeface="+mn-cs"/>
      </a:defRPr>
    </a:lvl4pPr>
    <a:lvl5pPr marL="1558232" algn="l" rtl="0" eaLnBrk="0" fontAlgn="base" hangingPunct="0">
      <a:spcBef>
        <a:spcPct val="30000"/>
      </a:spcBef>
      <a:spcAft>
        <a:spcPct val="0"/>
      </a:spcAft>
      <a:defRPr sz="1000" kern="1200">
        <a:solidFill>
          <a:schemeClr val="tx1"/>
        </a:solidFill>
        <a:latin typeface="Arial" charset="0"/>
        <a:ea typeface="ＭＳ Ｐゴシック" charset="0"/>
        <a:cs typeface="+mn-cs"/>
      </a:defRPr>
    </a:lvl5pPr>
    <a:lvl6pPr marL="1948072" algn="l" defTabSz="389615" rtl="0" eaLnBrk="1" latinLnBrk="0" hangingPunct="1">
      <a:defRPr sz="1000" kern="1200">
        <a:solidFill>
          <a:schemeClr val="tx1"/>
        </a:solidFill>
        <a:latin typeface="+mn-lt"/>
        <a:ea typeface="+mn-ea"/>
        <a:cs typeface="+mn-cs"/>
      </a:defRPr>
    </a:lvl6pPr>
    <a:lvl7pPr marL="2337687" algn="l" defTabSz="389615" rtl="0" eaLnBrk="1" latinLnBrk="0" hangingPunct="1">
      <a:defRPr sz="1000" kern="1200">
        <a:solidFill>
          <a:schemeClr val="tx1"/>
        </a:solidFill>
        <a:latin typeface="+mn-lt"/>
        <a:ea typeface="+mn-ea"/>
        <a:cs typeface="+mn-cs"/>
      </a:defRPr>
    </a:lvl7pPr>
    <a:lvl8pPr marL="2727302" algn="l" defTabSz="389615" rtl="0" eaLnBrk="1" latinLnBrk="0" hangingPunct="1">
      <a:defRPr sz="1000" kern="1200">
        <a:solidFill>
          <a:schemeClr val="tx1"/>
        </a:solidFill>
        <a:latin typeface="+mn-lt"/>
        <a:ea typeface="+mn-ea"/>
        <a:cs typeface="+mn-cs"/>
      </a:defRPr>
    </a:lvl8pPr>
    <a:lvl9pPr marL="3116916" algn="l" defTabSz="389615" rtl="0" eaLnBrk="1" latinLnBrk="0" hangingPunct="1">
      <a:defRPr sz="10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21.bin"/><Relationship Id="rId5" Type="http://schemas.openxmlformats.org/officeDocument/2006/relationships/image" Target="../media/image8.svg"/><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sv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5.bin"/><Relationship Id="rId5" Type="http://schemas.openxmlformats.org/officeDocument/2006/relationships/image" Target="../media/image8.sv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oleObject" Target="../embeddings/oleObject29.bin"/><Relationship Id="rId5" Type="http://schemas.openxmlformats.org/officeDocument/2006/relationships/image" Target="../media/image8.svg"/><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sv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0.sv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1.png"/><Relationship Id="rId7" Type="http://schemas.openxmlformats.org/officeDocument/2006/relationships/image" Target="../media/image9.png"/><Relationship Id="rId2" Type="http://schemas.openxmlformats.org/officeDocument/2006/relationships/slideMaster" Target="../slideMasters/slideMaster9.xml"/><Relationship Id="rId1" Type="http://schemas.openxmlformats.org/officeDocument/2006/relationships/tags" Target="../tags/tag123.xml"/><Relationship Id="rId6" Type="http://schemas.openxmlformats.org/officeDocument/2006/relationships/hyperlink" Target="mailto:contactus@woodmac.com" TargetMode="External"/><Relationship Id="rId5" Type="http://schemas.openxmlformats.org/officeDocument/2006/relationships/image" Target="../media/image12.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Logo Id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78F12677-6229-4AE2-5634-5D74E932312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pic>
        <p:nvPicPr>
          <p:cNvPr id="7" name="Graphic 6">
            <a:extLst>
              <a:ext uri="{FF2B5EF4-FFF2-40B4-BE49-F238E27FC236}">
                <a16:creationId xmlns:a16="http://schemas.microsoft.com/office/drawing/2014/main" id="{ABADFEFD-5A35-4FCF-5851-B84A6FEA475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625975" y="768170"/>
            <a:ext cx="3595688" cy="3595688"/>
          </a:xfrm>
          <a:prstGeom prst="rect">
            <a:avLst/>
          </a:prstGeom>
        </p:spPr>
      </p:pic>
      <p:sp>
        <p:nvSpPr>
          <p:cNvPr id="17" name="Title Placeholder 1">
            <a:extLst>
              <a:ext uri="{FF2B5EF4-FFF2-40B4-BE49-F238E27FC236}">
                <a16:creationId xmlns:a16="http://schemas.microsoft.com/office/drawing/2014/main" id="{40DAF491-3C1A-1053-50F0-4CB6751FF733}"/>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4" name="Text Placeholder 8">
            <a:extLst>
              <a:ext uri="{FF2B5EF4-FFF2-40B4-BE49-F238E27FC236}">
                <a16:creationId xmlns:a16="http://schemas.microsoft.com/office/drawing/2014/main" id="{2A09A120-FBD8-63CD-F3FB-A8D72A4641FC}"/>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sp>
        <p:nvSpPr>
          <p:cNvPr id="6" name="Text Placeholder 8">
            <a:extLst>
              <a:ext uri="{FF2B5EF4-FFF2-40B4-BE49-F238E27FC236}">
                <a16:creationId xmlns:a16="http://schemas.microsoft.com/office/drawing/2014/main" id="{6C06C56B-5CB2-D235-A164-CB7866E58453}"/>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Tree>
    <p:extLst>
      <p:ext uri="{BB962C8B-B14F-4D97-AF65-F5344CB8AC3E}">
        <p14:creationId xmlns:p14="http://schemas.microsoft.com/office/powerpoint/2010/main" val="349921507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ry &amp; text - 3 Columns / Whit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7060000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lvl1pPr>
              <a:defRPr>
                <a:solidFill>
                  <a:schemeClr val="bg2"/>
                </a:solidFill>
              </a:defRPr>
            </a:lvl1p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E5645B35-B9FA-57DE-B546-C4BB996C18D7}"/>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bg1"/>
                </a:solidFill>
              </a:defRPr>
            </a:lvl1pPr>
          </a:lstStyle>
          <a:p>
            <a:r>
              <a:rPr lang="en-GB" dirty="0"/>
              <a:t>Optional Subtitle Here</a:t>
            </a:r>
          </a:p>
        </p:txBody>
      </p:sp>
      <p:sp>
        <p:nvSpPr>
          <p:cNvPr id="14" name="Title 1">
            <a:extLst>
              <a:ext uri="{FF2B5EF4-FFF2-40B4-BE49-F238E27FC236}">
                <a16:creationId xmlns:a16="http://schemas.microsoft.com/office/drawing/2014/main" id="{AA79A7FA-8207-1957-D1B7-F609372FAB38}"/>
              </a:ext>
            </a:extLst>
          </p:cNvPr>
          <p:cNvSpPr>
            <a:spLocks noGrp="1"/>
          </p:cNvSpPr>
          <p:nvPr>
            <p:ph type="title" hasCustomPrompt="1"/>
          </p:nvPr>
        </p:nvSpPr>
        <p:spPr>
          <a:xfrm>
            <a:off x="152400" y="447675"/>
            <a:ext cx="8842248" cy="440075"/>
          </a:xfrm>
        </p:spPr>
        <p:txBody>
          <a:bodyPr vert="horz" tIns="0" rIns="0" anchor="t">
            <a:noAutofit/>
          </a:bodyPr>
          <a:lstStyle>
            <a:lvl1pPr>
              <a:defRPr sz="2800">
                <a:solidFill>
                  <a:schemeClr val="bg2"/>
                </a:solidFill>
              </a:defRPr>
            </a:lvl1pPr>
          </a:lstStyle>
          <a:p>
            <a:r>
              <a:rPr lang="en-GB" dirty="0"/>
              <a:t>Slide title</a:t>
            </a:r>
          </a:p>
        </p:txBody>
      </p:sp>
      <p:sp>
        <p:nvSpPr>
          <p:cNvPr id="16" name="Text Placeholder 8">
            <a:extLst>
              <a:ext uri="{FF2B5EF4-FFF2-40B4-BE49-F238E27FC236}">
                <a16:creationId xmlns:a16="http://schemas.microsoft.com/office/drawing/2014/main" id="{1266A86E-2114-3017-ECCE-862BE7D533E7}"/>
              </a:ext>
            </a:extLst>
          </p:cNvPr>
          <p:cNvSpPr>
            <a:spLocks noGrp="1"/>
          </p:cNvSpPr>
          <p:nvPr>
            <p:ph type="body" idx="34" hasCustomPrompt="1"/>
          </p:nvPr>
        </p:nvSpPr>
        <p:spPr>
          <a:xfrm>
            <a:off x="497061"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17" name="Text Placeholder 29">
            <a:extLst>
              <a:ext uri="{FF2B5EF4-FFF2-40B4-BE49-F238E27FC236}">
                <a16:creationId xmlns:a16="http://schemas.microsoft.com/office/drawing/2014/main" id="{0232D94F-8C86-9BF0-A1D6-DDB90E1B22ED}"/>
              </a:ext>
            </a:extLst>
          </p:cNvPr>
          <p:cNvSpPr>
            <a:spLocks noGrp="1"/>
          </p:cNvSpPr>
          <p:nvPr>
            <p:ph type="body" sz="quarter" idx="35"/>
          </p:nvPr>
        </p:nvSpPr>
        <p:spPr>
          <a:xfrm>
            <a:off x="497063"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GB" dirty="0"/>
              <a:t>Click to edit Master text styles</a:t>
            </a:r>
          </a:p>
          <a:p>
            <a:pPr lvl="1"/>
            <a:r>
              <a:rPr lang="en-GB" dirty="0"/>
              <a:t>Second level</a:t>
            </a:r>
          </a:p>
        </p:txBody>
      </p:sp>
      <p:sp>
        <p:nvSpPr>
          <p:cNvPr id="20" name="Text Placeholder 8">
            <a:extLst>
              <a:ext uri="{FF2B5EF4-FFF2-40B4-BE49-F238E27FC236}">
                <a16:creationId xmlns:a16="http://schemas.microsoft.com/office/drawing/2014/main" id="{2A86445B-4A29-A772-15DF-8B4605D4DC51}"/>
              </a:ext>
            </a:extLst>
          </p:cNvPr>
          <p:cNvSpPr>
            <a:spLocks noGrp="1"/>
          </p:cNvSpPr>
          <p:nvPr>
            <p:ph type="body" idx="37" hasCustomPrompt="1"/>
          </p:nvPr>
        </p:nvSpPr>
        <p:spPr>
          <a:xfrm>
            <a:off x="3455372"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21" name="Text Placeholder 29">
            <a:extLst>
              <a:ext uri="{FF2B5EF4-FFF2-40B4-BE49-F238E27FC236}">
                <a16:creationId xmlns:a16="http://schemas.microsoft.com/office/drawing/2014/main" id="{0853F353-D352-235E-A7CB-1FB25ADC6FB5}"/>
              </a:ext>
            </a:extLst>
          </p:cNvPr>
          <p:cNvSpPr>
            <a:spLocks noGrp="1"/>
          </p:cNvSpPr>
          <p:nvPr>
            <p:ph type="body" sz="quarter" idx="38"/>
          </p:nvPr>
        </p:nvSpPr>
        <p:spPr>
          <a:xfrm>
            <a:off x="3455372"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GB" dirty="0"/>
              <a:t>Click to edit Master text styles</a:t>
            </a:r>
          </a:p>
          <a:p>
            <a:pPr lvl="1"/>
            <a:r>
              <a:rPr lang="en-GB" dirty="0"/>
              <a:t>Second level</a:t>
            </a:r>
          </a:p>
        </p:txBody>
      </p:sp>
      <p:sp>
        <p:nvSpPr>
          <p:cNvPr id="24" name="Text Placeholder 8">
            <a:extLst>
              <a:ext uri="{FF2B5EF4-FFF2-40B4-BE49-F238E27FC236}">
                <a16:creationId xmlns:a16="http://schemas.microsoft.com/office/drawing/2014/main" id="{4BB5B427-9705-7D39-60E4-F41A78CF19AE}"/>
              </a:ext>
            </a:extLst>
          </p:cNvPr>
          <p:cNvSpPr>
            <a:spLocks noGrp="1"/>
          </p:cNvSpPr>
          <p:nvPr>
            <p:ph type="body" idx="40" hasCustomPrompt="1"/>
          </p:nvPr>
        </p:nvSpPr>
        <p:spPr>
          <a:xfrm>
            <a:off x="6413683"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25" name="Text Placeholder 29">
            <a:extLst>
              <a:ext uri="{FF2B5EF4-FFF2-40B4-BE49-F238E27FC236}">
                <a16:creationId xmlns:a16="http://schemas.microsoft.com/office/drawing/2014/main" id="{75DE1725-0CB6-A191-5F0F-4241F682DB03}"/>
              </a:ext>
            </a:extLst>
          </p:cNvPr>
          <p:cNvSpPr>
            <a:spLocks noGrp="1"/>
          </p:cNvSpPr>
          <p:nvPr>
            <p:ph type="body" sz="quarter" idx="41"/>
          </p:nvPr>
        </p:nvSpPr>
        <p:spPr>
          <a:xfrm>
            <a:off x="6413682"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GB" dirty="0"/>
              <a:t>Click to edit Master text styles</a:t>
            </a:r>
          </a:p>
          <a:p>
            <a:pPr lvl="1"/>
            <a:r>
              <a:rPr lang="en-GB" dirty="0"/>
              <a:t>Second level</a:t>
            </a:r>
          </a:p>
        </p:txBody>
      </p:sp>
      <p:sp>
        <p:nvSpPr>
          <p:cNvPr id="2" name="Picture Placeholder 14">
            <a:extLst>
              <a:ext uri="{FF2B5EF4-FFF2-40B4-BE49-F238E27FC236}">
                <a16:creationId xmlns:a16="http://schemas.microsoft.com/office/drawing/2014/main" id="{14DAE10A-3312-D8C9-2A0C-90C6C13AECCD}"/>
              </a:ext>
            </a:extLst>
          </p:cNvPr>
          <p:cNvSpPr>
            <a:spLocks noGrp="1"/>
          </p:cNvSpPr>
          <p:nvPr>
            <p:ph type="pic" sz="quarter" idx="24" hasCustomPrompt="1"/>
          </p:nvPr>
        </p:nvSpPr>
        <p:spPr>
          <a:xfrm>
            <a:off x="500850"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7" name="Picture Placeholder 14">
            <a:extLst>
              <a:ext uri="{FF2B5EF4-FFF2-40B4-BE49-F238E27FC236}">
                <a16:creationId xmlns:a16="http://schemas.microsoft.com/office/drawing/2014/main" id="{7CF5BC68-F49A-1485-9352-D17398A1E59F}"/>
              </a:ext>
            </a:extLst>
          </p:cNvPr>
          <p:cNvSpPr>
            <a:spLocks noGrp="1"/>
          </p:cNvSpPr>
          <p:nvPr>
            <p:ph type="pic" sz="quarter" idx="42" hasCustomPrompt="1"/>
          </p:nvPr>
        </p:nvSpPr>
        <p:spPr>
          <a:xfrm>
            <a:off x="3459164"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10" name="Picture Placeholder 14">
            <a:extLst>
              <a:ext uri="{FF2B5EF4-FFF2-40B4-BE49-F238E27FC236}">
                <a16:creationId xmlns:a16="http://schemas.microsoft.com/office/drawing/2014/main" id="{53774123-23D1-C776-015F-DBA8975A4BEA}"/>
              </a:ext>
            </a:extLst>
          </p:cNvPr>
          <p:cNvSpPr>
            <a:spLocks noGrp="1"/>
          </p:cNvSpPr>
          <p:nvPr>
            <p:ph type="pic" sz="quarter" idx="43" hasCustomPrompt="1"/>
          </p:nvPr>
        </p:nvSpPr>
        <p:spPr>
          <a:xfrm>
            <a:off x="6417477"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11" name="Text Placeholder 29">
            <a:extLst>
              <a:ext uri="{FF2B5EF4-FFF2-40B4-BE49-F238E27FC236}">
                <a16:creationId xmlns:a16="http://schemas.microsoft.com/office/drawing/2014/main" id="{DCED96A1-897B-F04D-E843-4521646B0311}"/>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solidFill>
                  <a:schemeClr val="bg1"/>
                </a:solidFill>
              </a:defRPr>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28667425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 4x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882720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0E7266DC-4518-C399-51D2-E189F9B2B33A}"/>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1B9A0A6F-1050-110F-DC93-51BB06CE1002}"/>
              </a:ext>
            </a:extLst>
          </p:cNvPr>
          <p:cNvSpPr>
            <a:spLocks noGrp="1"/>
          </p:cNvSpPr>
          <p:nvPr>
            <p:ph sz="quarter" idx="42"/>
          </p:nvPr>
        </p:nvSpPr>
        <p:spPr>
          <a:xfrm>
            <a:off x="3143250" y="869247"/>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8">
            <a:extLst>
              <a:ext uri="{FF2B5EF4-FFF2-40B4-BE49-F238E27FC236}">
                <a16:creationId xmlns:a16="http://schemas.microsoft.com/office/drawing/2014/main" id="{17E87AC7-AD15-FBEE-9B33-7BF590182BCB}"/>
              </a:ext>
            </a:extLst>
          </p:cNvPr>
          <p:cNvSpPr>
            <a:spLocks noGrp="1"/>
          </p:cNvSpPr>
          <p:nvPr>
            <p:ph type="body" idx="34" hasCustomPrompt="1"/>
          </p:nvPr>
        </p:nvSpPr>
        <p:spPr>
          <a:xfrm>
            <a:off x="3139459" y="447675"/>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1" name="Text Placeholder 8">
            <a:extLst>
              <a:ext uri="{FF2B5EF4-FFF2-40B4-BE49-F238E27FC236}">
                <a16:creationId xmlns:a16="http://schemas.microsoft.com/office/drawing/2014/main" id="{9F3B3AF8-C843-EE86-5DDB-AB00A2786347}"/>
              </a:ext>
            </a:extLst>
          </p:cNvPr>
          <p:cNvSpPr>
            <a:spLocks noGrp="1"/>
          </p:cNvSpPr>
          <p:nvPr>
            <p:ph type="body" idx="43" hasCustomPrompt="1"/>
          </p:nvPr>
        </p:nvSpPr>
        <p:spPr>
          <a:xfrm>
            <a:off x="6108701" y="447675"/>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A2EFABFF-B99C-4EB8-AFEE-1C6F8B1853CD}"/>
              </a:ext>
            </a:extLst>
          </p:cNvPr>
          <p:cNvSpPr>
            <a:spLocks noGrp="1"/>
          </p:cNvSpPr>
          <p:nvPr>
            <p:ph type="body" idx="44" hasCustomPrompt="1"/>
          </p:nvPr>
        </p:nvSpPr>
        <p:spPr>
          <a:xfrm>
            <a:off x="3139459" y="2648174"/>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6" name="Text Placeholder 8">
            <a:extLst>
              <a:ext uri="{FF2B5EF4-FFF2-40B4-BE49-F238E27FC236}">
                <a16:creationId xmlns:a16="http://schemas.microsoft.com/office/drawing/2014/main" id="{84700CD0-187A-CEDE-3076-BE08972EA093}"/>
              </a:ext>
            </a:extLst>
          </p:cNvPr>
          <p:cNvSpPr>
            <a:spLocks noGrp="1"/>
          </p:cNvSpPr>
          <p:nvPr>
            <p:ph type="body" idx="45" hasCustomPrompt="1"/>
          </p:nvPr>
        </p:nvSpPr>
        <p:spPr>
          <a:xfrm>
            <a:off x="6108701" y="2648174"/>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7" name="Text Placeholder 8">
            <a:extLst>
              <a:ext uri="{FF2B5EF4-FFF2-40B4-BE49-F238E27FC236}">
                <a16:creationId xmlns:a16="http://schemas.microsoft.com/office/drawing/2014/main" id="{C0A84246-48B8-FB9B-1B42-0BD260A91CB4}"/>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lnSpc>
                <a:spcPct val="90000"/>
              </a:lnSpc>
              <a:buNone/>
              <a:defRPr sz="1400" b="0">
                <a:solidFill>
                  <a:schemeClr val="tx1"/>
                </a:solidFill>
              </a:defRPr>
            </a:lvl1pPr>
          </a:lstStyle>
          <a:p>
            <a:r>
              <a:rPr lang="en-GB" dirty="0"/>
              <a:t>Optional Subtitle Here</a:t>
            </a:r>
          </a:p>
        </p:txBody>
      </p:sp>
      <p:sp>
        <p:nvSpPr>
          <p:cNvPr id="19" name="Content Placeholder 7">
            <a:extLst>
              <a:ext uri="{FF2B5EF4-FFF2-40B4-BE49-F238E27FC236}">
                <a16:creationId xmlns:a16="http://schemas.microsoft.com/office/drawing/2014/main" id="{4A489360-476A-F33B-26EB-B9C626C9C6E0}"/>
              </a:ext>
            </a:extLst>
          </p:cNvPr>
          <p:cNvSpPr>
            <a:spLocks noGrp="1"/>
          </p:cNvSpPr>
          <p:nvPr>
            <p:ph sz="quarter" idx="46"/>
          </p:nvPr>
        </p:nvSpPr>
        <p:spPr>
          <a:xfrm>
            <a:off x="6108701" y="869247"/>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0" name="Content Placeholder 7">
            <a:extLst>
              <a:ext uri="{FF2B5EF4-FFF2-40B4-BE49-F238E27FC236}">
                <a16:creationId xmlns:a16="http://schemas.microsoft.com/office/drawing/2014/main" id="{95E2EDC1-92A0-64BB-56DD-976115187EC5}"/>
              </a:ext>
            </a:extLst>
          </p:cNvPr>
          <p:cNvSpPr>
            <a:spLocks noGrp="1"/>
          </p:cNvSpPr>
          <p:nvPr>
            <p:ph sz="quarter" idx="47"/>
          </p:nvPr>
        </p:nvSpPr>
        <p:spPr>
          <a:xfrm>
            <a:off x="3143250" y="3069062"/>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6" name="Content Placeholder 7">
            <a:extLst>
              <a:ext uri="{FF2B5EF4-FFF2-40B4-BE49-F238E27FC236}">
                <a16:creationId xmlns:a16="http://schemas.microsoft.com/office/drawing/2014/main" id="{73A913FB-A31F-631A-B095-274EC001A9B6}"/>
              </a:ext>
            </a:extLst>
          </p:cNvPr>
          <p:cNvSpPr>
            <a:spLocks noGrp="1"/>
          </p:cNvSpPr>
          <p:nvPr>
            <p:ph sz="quarter" idx="48"/>
          </p:nvPr>
        </p:nvSpPr>
        <p:spPr>
          <a:xfrm>
            <a:off x="6108701" y="3069062"/>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29">
            <a:extLst>
              <a:ext uri="{FF2B5EF4-FFF2-40B4-BE49-F238E27FC236}">
                <a16:creationId xmlns:a16="http://schemas.microsoft.com/office/drawing/2014/main" id="{068C57E8-EE3F-9E5B-E08D-7D77A8F8BD66}"/>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290243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x2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5218121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5" name="Text Placeholder 8">
            <a:extLst>
              <a:ext uri="{FF2B5EF4-FFF2-40B4-BE49-F238E27FC236}">
                <a16:creationId xmlns:a16="http://schemas.microsoft.com/office/drawing/2014/main" id="{8DAD9FA2-7C86-8FF2-7067-34527895BE1F}"/>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99F4CD7E-6A0E-CFF3-52DA-48B22A2F7752}"/>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58F92FAB-44AD-E2E8-3C05-E27F34103A31}"/>
              </a:ext>
            </a:extLst>
          </p:cNvPr>
          <p:cNvSpPr>
            <a:spLocks noGrp="1"/>
          </p:cNvSpPr>
          <p:nvPr>
            <p:ph sz="quarter" idx="42"/>
          </p:nvPr>
        </p:nvSpPr>
        <p:spPr>
          <a:xfrm>
            <a:off x="920750" y="1608250"/>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8">
            <a:extLst>
              <a:ext uri="{FF2B5EF4-FFF2-40B4-BE49-F238E27FC236}">
                <a16:creationId xmlns:a16="http://schemas.microsoft.com/office/drawing/2014/main" id="{76891659-1890-705B-BEE4-A6E6EAEB876C}"/>
              </a:ext>
            </a:extLst>
          </p:cNvPr>
          <p:cNvSpPr>
            <a:spLocks noGrp="1"/>
          </p:cNvSpPr>
          <p:nvPr>
            <p:ph type="body" idx="34" hasCustomPrompt="1"/>
          </p:nvPr>
        </p:nvSpPr>
        <p:spPr>
          <a:xfrm>
            <a:off x="920751"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8">
            <a:extLst>
              <a:ext uri="{FF2B5EF4-FFF2-40B4-BE49-F238E27FC236}">
                <a16:creationId xmlns:a16="http://schemas.microsoft.com/office/drawing/2014/main" id="{8F74AEA1-8143-6877-D95A-915BD0F58A09}"/>
              </a:ext>
            </a:extLst>
          </p:cNvPr>
          <p:cNvSpPr>
            <a:spLocks noGrp="1"/>
          </p:cNvSpPr>
          <p:nvPr>
            <p:ph type="body" idx="44" hasCustomPrompt="1"/>
          </p:nvPr>
        </p:nvSpPr>
        <p:spPr>
          <a:xfrm>
            <a:off x="3514725"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DE0AB0CB-5DE7-B9B1-1138-BED6BD4A6BD8}"/>
              </a:ext>
            </a:extLst>
          </p:cNvPr>
          <p:cNvSpPr>
            <a:spLocks noGrp="1"/>
          </p:cNvSpPr>
          <p:nvPr>
            <p:ph type="body" idx="46" hasCustomPrompt="1"/>
          </p:nvPr>
        </p:nvSpPr>
        <p:spPr>
          <a:xfrm>
            <a:off x="6108700"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Text Placeholder 8">
            <a:extLst>
              <a:ext uri="{FF2B5EF4-FFF2-40B4-BE49-F238E27FC236}">
                <a16:creationId xmlns:a16="http://schemas.microsoft.com/office/drawing/2014/main" id="{52E53CD1-4871-D080-131A-BEEB950F19DF}"/>
              </a:ext>
            </a:extLst>
          </p:cNvPr>
          <p:cNvSpPr>
            <a:spLocks noGrp="1"/>
          </p:cNvSpPr>
          <p:nvPr>
            <p:ph type="body" idx="48" hasCustomPrompt="1"/>
          </p:nvPr>
        </p:nvSpPr>
        <p:spPr>
          <a:xfrm>
            <a:off x="920751"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0" name="Text Placeholder 8">
            <a:extLst>
              <a:ext uri="{FF2B5EF4-FFF2-40B4-BE49-F238E27FC236}">
                <a16:creationId xmlns:a16="http://schemas.microsoft.com/office/drawing/2014/main" id="{1265A032-7454-C815-1533-32BA9051384A}"/>
              </a:ext>
            </a:extLst>
          </p:cNvPr>
          <p:cNvSpPr>
            <a:spLocks noGrp="1"/>
          </p:cNvSpPr>
          <p:nvPr>
            <p:ph type="body" idx="50" hasCustomPrompt="1"/>
          </p:nvPr>
        </p:nvSpPr>
        <p:spPr>
          <a:xfrm>
            <a:off x="3514725"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2" name="Text Placeholder 8">
            <a:extLst>
              <a:ext uri="{FF2B5EF4-FFF2-40B4-BE49-F238E27FC236}">
                <a16:creationId xmlns:a16="http://schemas.microsoft.com/office/drawing/2014/main" id="{F5A68A44-E7A6-8D65-5D3C-D7DB5A541545}"/>
              </a:ext>
            </a:extLst>
          </p:cNvPr>
          <p:cNvSpPr>
            <a:spLocks noGrp="1"/>
          </p:cNvSpPr>
          <p:nvPr>
            <p:ph type="body" idx="52" hasCustomPrompt="1"/>
          </p:nvPr>
        </p:nvSpPr>
        <p:spPr>
          <a:xfrm>
            <a:off x="6108700"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3" name="Content Placeholder 7">
            <a:extLst>
              <a:ext uri="{FF2B5EF4-FFF2-40B4-BE49-F238E27FC236}">
                <a16:creationId xmlns:a16="http://schemas.microsoft.com/office/drawing/2014/main" id="{99613174-5416-CD05-B356-FF503322E1BF}"/>
              </a:ext>
            </a:extLst>
          </p:cNvPr>
          <p:cNvSpPr>
            <a:spLocks noGrp="1"/>
          </p:cNvSpPr>
          <p:nvPr>
            <p:ph sz="quarter" idx="53"/>
          </p:nvPr>
        </p:nvSpPr>
        <p:spPr>
          <a:xfrm>
            <a:off x="3512830" y="1608250"/>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4" name="Content Placeholder 7">
            <a:extLst>
              <a:ext uri="{FF2B5EF4-FFF2-40B4-BE49-F238E27FC236}">
                <a16:creationId xmlns:a16="http://schemas.microsoft.com/office/drawing/2014/main" id="{9B04D961-6142-66F5-812A-EC7CA8E453EC}"/>
              </a:ext>
            </a:extLst>
          </p:cNvPr>
          <p:cNvSpPr>
            <a:spLocks noGrp="1"/>
          </p:cNvSpPr>
          <p:nvPr>
            <p:ph sz="quarter" idx="54"/>
          </p:nvPr>
        </p:nvSpPr>
        <p:spPr>
          <a:xfrm>
            <a:off x="6104909" y="1608250"/>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5" name="Content Placeholder 7">
            <a:extLst>
              <a:ext uri="{FF2B5EF4-FFF2-40B4-BE49-F238E27FC236}">
                <a16:creationId xmlns:a16="http://schemas.microsoft.com/office/drawing/2014/main" id="{AEDA521F-E56C-C31E-421B-F42E77EBF7BC}"/>
              </a:ext>
            </a:extLst>
          </p:cNvPr>
          <p:cNvSpPr>
            <a:spLocks noGrp="1"/>
          </p:cNvSpPr>
          <p:nvPr>
            <p:ph sz="quarter" idx="55"/>
          </p:nvPr>
        </p:nvSpPr>
        <p:spPr>
          <a:xfrm>
            <a:off x="920750" y="3399047"/>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6" name="Content Placeholder 7">
            <a:extLst>
              <a:ext uri="{FF2B5EF4-FFF2-40B4-BE49-F238E27FC236}">
                <a16:creationId xmlns:a16="http://schemas.microsoft.com/office/drawing/2014/main" id="{7C63AF11-5C12-7C9E-6E78-6B34CDC78A7E}"/>
              </a:ext>
            </a:extLst>
          </p:cNvPr>
          <p:cNvSpPr>
            <a:spLocks noGrp="1"/>
          </p:cNvSpPr>
          <p:nvPr>
            <p:ph sz="quarter" idx="56"/>
          </p:nvPr>
        </p:nvSpPr>
        <p:spPr>
          <a:xfrm>
            <a:off x="3512830" y="3399047"/>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7" name="Content Placeholder 7">
            <a:extLst>
              <a:ext uri="{FF2B5EF4-FFF2-40B4-BE49-F238E27FC236}">
                <a16:creationId xmlns:a16="http://schemas.microsoft.com/office/drawing/2014/main" id="{DD64F3B7-9CAC-FE24-1D2F-E126540C6D7B}"/>
              </a:ext>
            </a:extLst>
          </p:cNvPr>
          <p:cNvSpPr>
            <a:spLocks noGrp="1"/>
          </p:cNvSpPr>
          <p:nvPr>
            <p:ph sz="quarter" idx="57"/>
          </p:nvPr>
        </p:nvSpPr>
        <p:spPr>
          <a:xfrm>
            <a:off x="6104909" y="3399047"/>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29">
            <a:extLst>
              <a:ext uri="{FF2B5EF4-FFF2-40B4-BE49-F238E27FC236}">
                <a16:creationId xmlns:a16="http://schemas.microsoft.com/office/drawing/2014/main" id="{7B12424C-7A73-3EDA-E060-36D8C099D5B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2588888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3x2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059983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5" name="Text Placeholder 8">
            <a:extLst>
              <a:ext uri="{FF2B5EF4-FFF2-40B4-BE49-F238E27FC236}">
                <a16:creationId xmlns:a16="http://schemas.microsoft.com/office/drawing/2014/main" id="{8DAD9FA2-7C86-8FF2-7067-34527895BE1F}"/>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99F4CD7E-6A0E-CFF3-52DA-48B22A2F7752}"/>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58F92FAB-44AD-E2E8-3C05-E27F34103A31}"/>
              </a:ext>
            </a:extLst>
          </p:cNvPr>
          <p:cNvSpPr>
            <a:spLocks noGrp="1"/>
          </p:cNvSpPr>
          <p:nvPr>
            <p:ph sz="quarter" idx="42"/>
          </p:nvPr>
        </p:nvSpPr>
        <p:spPr>
          <a:xfrm>
            <a:off x="152399" y="1608250"/>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8">
            <a:extLst>
              <a:ext uri="{FF2B5EF4-FFF2-40B4-BE49-F238E27FC236}">
                <a16:creationId xmlns:a16="http://schemas.microsoft.com/office/drawing/2014/main" id="{76891659-1890-705B-BEE4-A6E6EAEB876C}"/>
              </a:ext>
            </a:extLst>
          </p:cNvPr>
          <p:cNvSpPr>
            <a:spLocks noGrp="1"/>
          </p:cNvSpPr>
          <p:nvPr>
            <p:ph type="body" idx="34" hasCustomPrompt="1"/>
          </p:nvPr>
        </p:nvSpPr>
        <p:spPr>
          <a:xfrm>
            <a:off x="152399"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8">
            <a:extLst>
              <a:ext uri="{FF2B5EF4-FFF2-40B4-BE49-F238E27FC236}">
                <a16:creationId xmlns:a16="http://schemas.microsoft.com/office/drawing/2014/main" id="{8F74AEA1-8143-6877-D95A-915BD0F58A09}"/>
              </a:ext>
            </a:extLst>
          </p:cNvPr>
          <p:cNvSpPr>
            <a:spLocks noGrp="1"/>
          </p:cNvSpPr>
          <p:nvPr>
            <p:ph type="body" idx="44" hasCustomPrompt="1"/>
          </p:nvPr>
        </p:nvSpPr>
        <p:spPr>
          <a:xfrm>
            <a:off x="3188902"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DE0AB0CB-5DE7-B9B1-1138-BED6BD4A6BD8}"/>
              </a:ext>
            </a:extLst>
          </p:cNvPr>
          <p:cNvSpPr>
            <a:spLocks noGrp="1"/>
          </p:cNvSpPr>
          <p:nvPr>
            <p:ph type="body" idx="46" hasCustomPrompt="1"/>
          </p:nvPr>
        </p:nvSpPr>
        <p:spPr>
          <a:xfrm>
            <a:off x="6225405"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Text Placeholder 8">
            <a:extLst>
              <a:ext uri="{FF2B5EF4-FFF2-40B4-BE49-F238E27FC236}">
                <a16:creationId xmlns:a16="http://schemas.microsoft.com/office/drawing/2014/main" id="{52E53CD1-4871-D080-131A-BEEB950F19DF}"/>
              </a:ext>
            </a:extLst>
          </p:cNvPr>
          <p:cNvSpPr>
            <a:spLocks noGrp="1"/>
          </p:cNvSpPr>
          <p:nvPr>
            <p:ph type="body" idx="48" hasCustomPrompt="1"/>
          </p:nvPr>
        </p:nvSpPr>
        <p:spPr>
          <a:xfrm>
            <a:off x="152399"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0" name="Text Placeholder 8">
            <a:extLst>
              <a:ext uri="{FF2B5EF4-FFF2-40B4-BE49-F238E27FC236}">
                <a16:creationId xmlns:a16="http://schemas.microsoft.com/office/drawing/2014/main" id="{1265A032-7454-C815-1533-32BA9051384A}"/>
              </a:ext>
            </a:extLst>
          </p:cNvPr>
          <p:cNvSpPr>
            <a:spLocks noGrp="1"/>
          </p:cNvSpPr>
          <p:nvPr>
            <p:ph type="body" idx="50" hasCustomPrompt="1"/>
          </p:nvPr>
        </p:nvSpPr>
        <p:spPr>
          <a:xfrm>
            <a:off x="3188902"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2" name="Text Placeholder 8">
            <a:extLst>
              <a:ext uri="{FF2B5EF4-FFF2-40B4-BE49-F238E27FC236}">
                <a16:creationId xmlns:a16="http://schemas.microsoft.com/office/drawing/2014/main" id="{F5A68A44-E7A6-8D65-5D3C-D7DB5A541545}"/>
              </a:ext>
            </a:extLst>
          </p:cNvPr>
          <p:cNvSpPr>
            <a:spLocks noGrp="1"/>
          </p:cNvSpPr>
          <p:nvPr>
            <p:ph type="body" idx="52" hasCustomPrompt="1"/>
          </p:nvPr>
        </p:nvSpPr>
        <p:spPr>
          <a:xfrm>
            <a:off x="6225405"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3" name="Content Placeholder 7">
            <a:extLst>
              <a:ext uri="{FF2B5EF4-FFF2-40B4-BE49-F238E27FC236}">
                <a16:creationId xmlns:a16="http://schemas.microsoft.com/office/drawing/2014/main" id="{99613174-5416-CD05-B356-FF503322E1BF}"/>
              </a:ext>
            </a:extLst>
          </p:cNvPr>
          <p:cNvSpPr>
            <a:spLocks noGrp="1"/>
          </p:cNvSpPr>
          <p:nvPr>
            <p:ph sz="quarter" idx="53"/>
          </p:nvPr>
        </p:nvSpPr>
        <p:spPr>
          <a:xfrm>
            <a:off x="3186413" y="1608250"/>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4" name="Content Placeholder 7">
            <a:extLst>
              <a:ext uri="{FF2B5EF4-FFF2-40B4-BE49-F238E27FC236}">
                <a16:creationId xmlns:a16="http://schemas.microsoft.com/office/drawing/2014/main" id="{9B04D961-6142-66F5-812A-EC7CA8E453EC}"/>
              </a:ext>
            </a:extLst>
          </p:cNvPr>
          <p:cNvSpPr>
            <a:spLocks noGrp="1"/>
          </p:cNvSpPr>
          <p:nvPr>
            <p:ph sz="quarter" idx="54"/>
          </p:nvPr>
        </p:nvSpPr>
        <p:spPr>
          <a:xfrm>
            <a:off x="6220427" y="1608250"/>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5" name="Content Placeholder 7">
            <a:extLst>
              <a:ext uri="{FF2B5EF4-FFF2-40B4-BE49-F238E27FC236}">
                <a16:creationId xmlns:a16="http://schemas.microsoft.com/office/drawing/2014/main" id="{AEDA521F-E56C-C31E-421B-F42E77EBF7BC}"/>
              </a:ext>
            </a:extLst>
          </p:cNvPr>
          <p:cNvSpPr>
            <a:spLocks noGrp="1"/>
          </p:cNvSpPr>
          <p:nvPr>
            <p:ph sz="quarter" idx="55"/>
          </p:nvPr>
        </p:nvSpPr>
        <p:spPr>
          <a:xfrm>
            <a:off x="152399" y="3399047"/>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6" name="Content Placeholder 7">
            <a:extLst>
              <a:ext uri="{FF2B5EF4-FFF2-40B4-BE49-F238E27FC236}">
                <a16:creationId xmlns:a16="http://schemas.microsoft.com/office/drawing/2014/main" id="{7C63AF11-5C12-7C9E-6E78-6B34CDC78A7E}"/>
              </a:ext>
            </a:extLst>
          </p:cNvPr>
          <p:cNvSpPr>
            <a:spLocks noGrp="1"/>
          </p:cNvSpPr>
          <p:nvPr>
            <p:ph sz="quarter" idx="56"/>
          </p:nvPr>
        </p:nvSpPr>
        <p:spPr>
          <a:xfrm>
            <a:off x="3186413" y="3399047"/>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7" name="Content Placeholder 7">
            <a:extLst>
              <a:ext uri="{FF2B5EF4-FFF2-40B4-BE49-F238E27FC236}">
                <a16:creationId xmlns:a16="http://schemas.microsoft.com/office/drawing/2014/main" id="{DD64F3B7-9CAC-FE24-1D2F-E126540C6D7B}"/>
              </a:ext>
            </a:extLst>
          </p:cNvPr>
          <p:cNvSpPr>
            <a:spLocks noGrp="1"/>
          </p:cNvSpPr>
          <p:nvPr>
            <p:ph sz="quarter" idx="57"/>
          </p:nvPr>
        </p:nvSpPr>
        <p:spPr>
          <a:xfrm>
            <a:off x="6220427" y="3399047"/>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29">
            <a:extLst>
              <a:ext uri="{FF2B5EF4-FFF2-40B4-BE49-F238E27FC236}">
                <a16:creationId xmlns:a16="http://schemas.microsoft.com/office/drawing/2014/main" id="{7B12424C-7A73-3EDA-E060-36D8C099D5B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0544260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 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98645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9" y="447675"/>
            <a:ext cx="5848351" cy="410527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5245704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1 - 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98645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8" y="447675"/>
            <a:ext cx="2745267" cy="410527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Content Placeholder 7">
            <a:extLst>
              <a:ext uri="{FF2B5EF4-FFF2-40B4-BE49-F238E27FC236}">
                <a16:creationId xmlns:a16="http://schemas.microsoft.com/office/drawing/2014/main" id="{FC3960FA-4D91-448B-1D46-B8C6A6C41F55}"/>
              </a:ext>
            </a:extLst>
          </p:cNvPr>
          <p:cNvSpPr>
            <a:spLocks noGrp="1"/>
          </p:cNvSpPr>
          <p:nvPr>
            <p:ph sz="quarter" idx="43"/>
          </p:nvPr>
        </p:nvSpPr>
        <p:spPr>
          <a:xfrm>
            <a:off x="6246333" y="447675"/>
            <a:ext cx="2745267" cy="410527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838308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00741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Content Placeholder 7">
            <a:extLst>
              <a:ext uri="{FF2B5EF4-FFF2-40B4-BE49-F238E27FC236}">
                <a16:creationId xmlns:a16="http://schemas.microsoft.com/office/drawing/2014/main" id="{35062DAE-5A3F-456F-871A-5E77FEF3DD1C}"/>
              </a:ext>
            </a:extLst>
          </p:cNvPr>
          <p:cNvSpPr>
            <a:spLocks noGrp="1"/>
          </p:cNvSpPr>
          <p:nvPr>
            <p:ph sz="quarter" idx="42"/>
          </p:nvPr>
        </p:nvSpPr>
        <p:spPr>
          <a:xfrm>
            <a:off x="152399"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8">
            <a:extLst>
              <a:ext uri="{FF2B5EF4-FFF2-40B4-BE49-F238E27FC236}">
                <a16:creationId xmlns:a16="http://schemas.microsoft.com/office/drawing/2014/main" id="{735EF8BC-6119-C412-3D88-BE8EF69518ED}"/>
              </a:ext>
            </a:extLst>
          </p:cNvPr>
          <p:cNvSpPr>
            <a:spLocks noGrp="1"/>
          </p:cNvSpPr>
          <p:nvPr>
            <p:ph type="body" idx="34" hasCustomPrompt="1"/>
          </p:nvPr>
        </p:nvSpPr>
        <p:spPr>
          <a:xfrm>
            <a:off x="152399"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2" name="Content Placeholder 7">
            <a:extLst>
              <a:ext uri="{FF2B5EF4-FFF2-40B4-BE49-F238E27FC236}">
                <a16:creationId xmlns:a16="http://schemas.microsoft.com/office/drawing/2014/main" id="{FE5CBF07-2C23-A162-FC01-A760FE66D94A}"/>
              </a:ext>
            </a:extLst>
          </p:cNvPr>
          <p:cNvSpPr>
            <a:spLocks noGrp="1"/>
          </p:cNvSpPr>
          <p:nvPr>
            <p:ph sz="quarter" idx="43"/>
          </p:nvPr>
        </p:nvSpPr>
        <p:spPr>
          <a:xfrm>
            <a:off x="2450940"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5" name="Text Placeholder 8">
            <a:extLst>
              <a:ext uri="{FF2B5EF4-FFF2-40B4-BE49-F238E27FC236}">
                <a16:creationId xmlns:a16="http://schemas.microsoft.com/office/drawing/2014/main" id="{03F95691-431E-13F0-FA0F-11A37C81203A}"/>
              </a:ext>
            </a:extLst>
          </p:cNvPr>
          <p:cNvSpPr>
            <a:spLocks noGrp="1"/>
          </p:cNvSpPr>
          <p:nvPr>
            <p:ph type="body" idx="44" hasCustomPrompt="1"/>
          </p:nvPr>
        </p:nvSpPr>
        <p:spPr>
          <a:xfrm>
            <a:off x="2450940"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6" name="Content Placeholder 7">
            <a:extLst>
              <a:ext uri="{FF2B5EF4-FFF2-40B4-BE49-F238E27FC236}">
                <a16:creationId xmlns:a16="http://schemas.microsoft.com/office/drawing/2014/main" id="{403E6877-6D6D-4DD5-76BB-B611FC97B0E9}"/>
              </a:ext>
            </a:extLst>
          </p:cNvPr>
          <p:cNvSpPr>
            <a:spLocks noGrp="1"/>
          </p:cNvSpPr>
          <p:nvPr>
            <p:ph sz="quarter" idx="45"/>
          </p:nvPr>
        </p:nvSpPr>
        <p:spPr>
          <a:xfrm>
            <a:off x="4749481"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7" name="Text Placeholder 8">
            <a:extLst>
              <a:ext uri="{FF2B5EF4-FFF2-40B4-BE49-F238E27FC236}">
                <a16:creationId xmlns:a16="http://schemas.microsoft.com/office/drawing/2014/main" id="{D56CBE63-4743-F40E-2A57-98D6B5FF0F84}"/>
              </a:ext>
            </a:extLst>
          </p:cNvPr>
          <p:cNvSpPr>
            <a:spLocks noGrp="1"/>
          </p:cNvSpPr>
          <p:nvPr>
            <p:ph type="body" idx="46" hasCustomPrompt="1"/>
          </p:nvPr>
        </p:nvSpPr>
        <p:spPr>
          <a:xfrm>
            <a:off x="4749481"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Content Placeholder 7">
            <a:extLst>
              <a:ext uri="{FF2B5EF4-FFF2-40B4-BE49-F238E27FC236}">
                <a16:creationId xmlns:a16="http://schemas.microsoft.com/office/drawing/2014/main" id="{E52F7448-1DC6-2EC7-7986-9735C140A16A}"/>
              </a:ext>
            </a:extLst>
          </p:cNvPr>
          <p:cNvSpPr>
            <a:spLocks noGrp="1"/>
          </p:cNvSpPr>
          <p:nvPr>
            <p:ph sz="quarter" idx="47"/>
          </p:nvPr>
        </p:nvSpPr>
        <p:spPr>
          <a:xfrm>
            <a:off x="7048023"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9" name="Text Placeholder 8">
            <a:extLst>
              <a:ext uri="{FF2B5EF4-FFF2-40B4-BE49-F238E27FC236}">
                <a16:creationId xmlns:a16="http://schemas.microsoft.com/office/drawing/2014/main" id="{25AAB615-B195-E01D-B8FB-3CF5EB4CD3F1}"/>
              </a:ext>
            </a:extLst>
          </p:cNvPr>
          <p:cNvSpPr>
            <a:spLocks noGrp="1"/>
          </p:cNvSpPr>
          <p:nvPr>
            <p:ph type="body" idx="48" hasCustomPrompt="1"/>
          </p:nvPr>
        </p:nvSpPr>
        <p:spPr>
          <a:xfrm>
            <a:off x="7048023"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29">
            <a:extLst>
              <a:ext uri="{FF2B5EF4-FFF2-40B4-BE49-F238E27FC236}">
                <a16:creationId xmlns:a16="http://schemas.microsoft.com/office/drawing/2014/main" id="{7B230A51-781A-6300-A9DB-7083F21CA1D0}"/>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1604458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 Statement - Whit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52180D4-EBC2-0CFD-EB18-6B2BD29BA59C}"/>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7181335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sp>
        <p:nvSpPr>
          <p:cNvPr id="10" name="Title 1">
            <a:extLst>
              <a:ext uri="{FF2B5EF4-FFF2-40B4-BE49-F238E27FC236}">
                <a16:creationId xmlns:a16="http://schemas.microsoft.com/office/drawing/2014/main" id="{5C57FF7E-08B9-745C-173B-44873A415614}"/>
              </a:ext>
            </a:extLst>
          </p:cNvPr>
          <p:cNvSpPr>
            <a:spLocks noGrp="1"/>
          </p:cNvSpPr>
          <p:nvPr>
            <p:ph type="title" hasCustomPrompt="1"/>
          </p:nvPr>
        </p:nvSpPr>
        <p:spPr>
          <a:xfrm>
            <a:off x="152400" y="2351713"/>
            <a:ext cx="5811610" cy="440075"/>
          </a:xfrm>
        </p:spPr>
        <p:txBody>
          <a:bodyPr vert="horz" tIns="0" rIns="0" anchor="b" anchorCtr="0"/>
          <a:lstStyle>
            <a:lvl1pPr>
              <a:defRPr sz="3600">
                <a:solidFill>
                  <a:schemeClr val="tx2"/>
                </a:solidFill>
              </a:defRPr>
            </a:lvl1pPr>
          </a:lstStyle>
          <a:p>
            <a:r>
              <a:rPr lang="en-GB" dirty="0"/>
              <a:t>Big statement</a:t>
            </a:r>
          </a:p>
        </p:txBody>
      </p:sp>
      <p:sp>
        <p:nvSpPr>
          <p:cNvPr id="7" name="Text Placeholder 29">
            <a:extLst>
              <a:ext uri="{FF2B5EF4-FFF2-40B4-BE49-F238E27FC236}">
                <a16:creationId xmlns:a16="http://schemas.microsoft.com/office/drawing/2014/main" id="{F0AC328B-739B-318D-93D6-7DA0FE054848}"/>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2" name="Text Placeholder 17">
            <a:extLst>
              <a:ext uri="{FF2B5EF4-FFF2-40B4-BE49-F238E27FC236}">
                <a16:creationId xmlns:a16="http://schemas.microsoft.com/office/drawing/2014/main" id="{03C7B916-8F99-6600-2EBF-28C024DAA7FD}"/>
              </a:ext>
            </a:extLst>
          </p:cNvPr>
          <p:cNvSpPr>
            <a:spLocks noGrp="1"/>
          </p:cNvSpPr>
          <p:nvPr>
            <p:ph type="body" sz="quarter" idx="28" hasCustomPrompt="1"/>
          </p:nvPr>
        </p:nvSpPr>
        <p:spPr>
          <a:xfrm>
            <a:off x="152400" y="3028400"/>
            <a:ext cx="2057400" cy="150875"/>
          </a:xfrm>
          <a:prstGeom prst="rect">
            <a:avLst/>
          </a:prstGeom>
        </p:spPr>
        <p:txBody>
          <a:bodyPr wrap="square" lIns="0" tIns="0" rIns="0" bIns="0" anchor="b">
            <a:spAutoFit/>
          </a:bodyPr>
          <a:lstStyle>
            <a:lvl1pPr marL="0" indent="0" algn="l">
              <a:buClr>
                <a:schemeClr val="tx2"/>
              </a:buClr>
              <a:buFont typeface="Arial" panose="020B0604020202020204" pitchFamily="34" charset="0"/>
              <a:buNone/>
              <a:defRPr lang="en-US" sz="900" b="0" cap="none" dirty="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Analyst name here</a:t>
            </a:r>
          </a:p>
        </p:txBody>
      </p:sp>
    </p:spTree>
    <p:extLst>
      <p:ext uri="{BB962C8B-B14F-4D97-AF65-F5344CB8AC3E}">
        <p14:creationId xmlns:p14="http://schemas.microsoft.com/office/powerpoint/2010/main" val="10523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 Statement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92666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pic>
        <p:nvPicPr>
          <p:cNvPr id="5" name="Graphic 4">
            <a:extLst>
              <a:ext uri="{FF2B5EF4-FFF2-40B4-BE49-F238E27FC236}">
                <a16:creationId xmlns:a16="http://schemas.microsoft.com/office/drawing/2014/main" id="{7A669677-5229-483C-DC7A-5C4C03762DB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3" name="Text Placeholder 29">
            <a:extLst>
              <a:ext uri="{FF2B5EF4-FFF2-40B4-BE49-F238E27FC236}">
                <a16:creationId xmlns:a16="http://schemas.microsoft.com/office/drawing/2014/main" id="{90FF8DB4-A32B-565C-E3BC-94A5B6EB581E}"/>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Title 1">
            <a:extLst>
              <a:ext uri="{FF2B5EF4-FFF2-40B4-BE49-F238E27FC236}">
                <a16:creationId xmlns:a16="http://schemas.microsoft.com/office/drawing/2014/main" id="{DE135D43-779D-8399-B7C3-9E8FC96C6942}"/>
              </a:ext>
            </a:extLst>
          </p:cNvPr>
          <p:cNvSpPr>
            <a:spLocks noGrp="1"/>
          </p:cNvSpPr>
          <p:nvPr>
            <p:ph type="title" hasCustomPrompt="1"/>
          </p:nvPr>
        </p:nvSpPr>
        <p:spPr>
          <a:xfrm>
            <a:off x="152400" y="2351713"/>
            <a:ext cx="5811610" cy="440075"/>
          </a:xfrm>
        </p:spPr>
        <p:txBody>
          <a:bodyPr vert="horz" tIns="0" rIns="0" anchor="b" anchorCtr="0"/>
          <a:lstStyle>
            <a:lvl1pPr>
              <a:defRPr sz="3600">
                <a:solidFill>
                  <a:schemeClr val="tx2"/>
                </a:solidFill>
              </a:defRPr>
            </a:lvl1pPr>
          </a:lstStyle>
          <a:p>
            <a:r>
              <a:rPr lang="en-GB" dirty="0"/>
              <a:t>Big statement</a:t>
            </a:r>
          </a:p>
        </p:txBody>
      </p:sp>
      <p:sp>
        <p:nvSpPr>
          <p:cNvPr id="15" name="Text Placeholder 17">
            <a:extLst>
              <a:ext uri="{FF2B5EF4-FFF2-40B4-BE49-F238E27FC236}">
                <a16:creationId xmlns:a16="http://schemas.microsoft.com/office/drawing/2014/main" id="{C8D7B215-A6C7-A236-A10C-213CC4532572}"/>
              </a:ext>
            </a:extLst>
          </p:cNvPr>
          <p:cNvSpPr>
            <a:spLocks noGrp="1"/>
          </p:cNvSpPr>
          <p:nvPr>
            <p:ph type="body" sz="quarter" idx="28" hasCustomPrompt="1"/>
          </p:nvPr>
        </p:nvSpPr>
        <p:spPr>
          <a:xfrm>
            <a:off x="152400" y="3028400"/>
            <a:ext cx="2057400" cy="150875"/>
          </a:xfrm>
          <a:prstGeom prst="rect">
            <a:avLst/>
          </a:prstGeom>
        </p:spPr>
        <p:txBody>
          <a:bodyPr wrap="square" lIns="0" tIns="0" rIns="0" bIns="0" anchor="b">
            <a:spAutoFit/>
          </a:bodyPr>
          <a:lstStyle>
            <a:lvl1pPr marL="0" indent="0" algn="l">
              <a:buClr>
                <a:schemeClr val="tx2"/>
              </a:buClr>
              <a:buFont typeface="Arial" panose="020B0604020202020204" pitchFamily="34" charset="0"/>
              <a:buNone/>
              <a:defRPr lang="en-US" sz="900" b="0" cap="none" dirty="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Analyst name here</a:t>
            </a:r>
          </a:p>
        </p:txBody>
      </p:sp>
      <p:sp>
        <p:nvSpPr>
          <p:cNvPr id="18" name="Rectangle 17">
            <a:extLst>
              <a:ext uri="{FF2B5EF4-FFF2-40B4-BE49-F238E27FC236}">
                <a16:creationId xmlns:a16="http://schemas.microsoft.com/office/drawing/2014/main" id="{D5DFFD9E-E921-576F-255B-A178B7ACEE8B}"/>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830973824"/>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dent Image /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6659855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lvl1pPr>
          </a:lstStyle>
          <a:p>
            <a:fld id="{CC6EE8D8-BDE1-7940-A77B-94F3F186491E}" type="slidenum">
              <a:rPr lang="en-GB" smtClean="0"/>
              <a:pPr/>
              <a:t>‹#›</a:t>
            </a:fld>
            <a:endParaRPr lang="en-GB" dirty="0"/>
          </a:p>
        </p:txBody>
      </p:sp>
      <p:sp>
        <p:nvSpPr>
          <p:cNvPr id="11" name="Picture Placeholder 23">
            <a:extLst>
              <a:ext uri="{FF2B5EF4-FFF2-40B4-BE49-F238E27FC236}">
                <a16:creationId xmlns:a16="http://schemas.microsoft.com/office/drawing/2014/main" id="{2936598C-DD65-7DF8-F158-6D784A5BD9D1}"/>
              </a:ext>
            </a:extLst>
          </p:cNvPr>
          <p:cNvSpPr>
            <a:spLocks noGrp="1"/>
          </p:cNvSpPr>
          <p:nvPr>
            <p:ph type="pic" sz="quarter" idx="12"/>
          </p:nvPr>
        </p:nvSpPr>
        <p:spPr>
          <a:xfrm>
            <a:off x="-16197" y="523646"/>
            <a:ext cx="4213818" cy="4027713"/>
          </a:xfrm>
          <a:custGeom>
            <a:avLst/>
            <a:gdLst>
              <a:gd name="connsiteX0" fmla="*/ 8193967 w 8281497"/>
              <a:gd name="connsiteY0" fmla="*/ 1028848 h 5143500"/>
              <a:gd name="connsiteX1" fmla="*/ 8221795 w 8281497"/>
              <a:gd name="connsiteY1" fmla="*/ 1035778 h 5143500"/>
              <a:gd name="connsiteX2" fmla="*/ 8281497 w 8281497"/>
              <a:gd name="connsiteY2" fmla="*/ 1125137 h 5143500"/>
              <a:gd name="connsiteX3" fmla="*/ 8281497 w 8281497"/>
              <a:gd name="connsiteY3" fmla="*/ 4004220 h 5143500"/>
              <a:gd name="connsiteX4" fmla="*/ 8213148 w 8281497"/>
              <a:gd name="connsiteY4" fmla="*/ 4106516 h 5143500"/>
              <a:gd name="connsiteX5" fmla="*/ 8092477 w 8281497"/>
              <a:gd name="connsiteY5" fmla="*/ 4082542 h 5143500"/>
              <a:gd name="connsiteX6" fmla="*/ 7409669 w 8281497"/>
              <a:gd name="connsiteY6" fmla="*/ 3400055 h 5143500"/>
              <a:gd name="connsiteX7" fmla="*/ 7242449 w 8281497"/>
              <a:gd name="connsiteY7" fmla="*/ 3400074 h 5143500"/>
              <a:gd name="connsiteX8" fmla="*/ 6569594 w 8281497"/>
              <a:gd name="connsiteY8" fmla="*/ 4072815 h 5143500"/>
              <a:gd name="connsiteX9" fmla="*/ 6365430 w 8281497"/>
              <a:gd name="connsiteY9" fmla="*/ 4072796 h 5143500"/>
              <a:gd name="connsiteX10" fmla="*/ 5834889 w 8281497"/>
              <a:gd name="connsiteY10" fmla="*/ 3542278 h 5143500"/>
              <a:gd name="connsiteX11" fmla="*/ 5834891 w 8281497"/>
              <a:gd name="connsiteY11" fmla="*/ 3542278 h 5143500"/>
              <a:gd name="connsiteX12" fmla="*/ 5792606 w 8281497"/>
              <a:gd name="connsiteY12" fmla="*/ 3440190 h 5143500"/>
              <a:gd name="connsiteX13" fmla="*/ 5834893 w 8281497"/>
              <a:gd name="connsiteY13" fmla="*/ 3338102 h 5143500"/>
              <a:gd name="connsiteX14" fmla="*/ 8116377 w 8281497"/>
              <a:gd name="connsiteY14" fmla="*/ 1056743 h 5143500"/>
              <a:gd name="connsiteX15" fmla="*/ 8193967 w 8281497"/>
              <a:gd name="connsiteY15" fmla="*/ 1028848 h 5143500"/>
              <a:gd name="connsiteX16" fmla="*/ 6462320 w 8281497"/>
              <a:gd name="connsiteY16" fmla="*/ 1028413 h 5143500"/>
              <a:gd name="connsiteX17" fmla="*/ 6564391 w 8281497"/>
              <a:gd name="connsiteY17" fmla="*/ 1070697 h 5143500"/>
              <a:gd name="connsiteX18" fmla="*/ 7094946 w 8281497"/>
              <a:gd name="connsiteY18" fmla="*/ 1601232 h 5143500"/>
              <a:gd name="connsiteX19" fmla="*/ 7094927 w 8281497"/>
              <a:gd name="connsiteY19" fmla="*/ 1601232 h 5143500"/>
              <a:gd name="connsiteX20" fmla="*/ 7137220 w 8281497"/>
              <a:gd name="connsiteY20" fmla="*/ 1703317 h 5143500"/>
              <a:gd name="connsiteX21" fmla="*/ 7094927 w 8281497"/>
              <a:gd name="connsiteY21" fmla="*/ 1805401 h 5143500"/>
              <a:gd name="connsiteX22" fmla="*/ 4813443 w 8281497"/>
              <a:gd name="connsiteY22" fmla="*/ 4086762 h 5143500"/>
              <a:gd name="connsiteX23" fmla="*/ 4708038 w 8281497"/>
              <a:gd name="connsiteY23" fmla="*/ 4107728 h 5143500"/>
              <a:gd name="connsiteX24" fmla="*/ 4648331 w 8281497"/>
              <a:gd name="connsiteY24" fmla="*/ 4018356 h 5143500"/>
              <a:gd name="connsiteX25" fmla="*/ 4648331 w 8281497"/>
              <a:gd name="connsiteY25" fmla="*/ 1139288 h 5143500"/>
              <a:gd name="connsiteX26" fmla="*/ 4716678 w 8281497"/>
              <a:gd name="connsiteY26" fmla="*/ 1036986 h 5143500"/>
              <a:gd name="connsiteX27" fmla="*/ 4837350 w 8281497"/>
              <a:gd name="connsiteY27" fmla="*/ 1060967 h 5143500"/>
              <a:gd name="connsiteX28" fmla="*/ 5520166 w 8281497"/>
              <a:gd name="connsiteY28" fmla="*/ 1743446 h 5143500"/>
              <a:gd name="connsiteX29" fmla="*/ 5687371 w 8281497"/>
              <a:gd name="connsiteY29" fmla="*/ 1743433 h 5143500"/>
              <a:gd name="connsiteX30" fmla="*/ 6360241 w 8281497"/>
              <a:gd name="connsiteY30" fmla="*/ 1070688 h 5143500"/>
              <a:gd name="connsiteX31" fmla="*/ 6462320 w 8281497"/>
              <a:gd name="connsiteY31" fmla="*/ 1028413 h 5143500"/>
              <a:gd name="connsiteX32" fmla="*/ 0 w 8281497"/>
              <a:gd name="connsiteY32" fmla="*/ 0 h 5143500"/>
              <a:gd name="connsiteX33" fmla="*/ 4042611 w 8281497"/>
              <a:gd name="connsiteY33" fmla="*/ 0 h 5143500"/>
              <a:gd name="connsiteX34" fmla="*/ 4042611 w 8281497"/>
              <a:gd name="connsiteY34" fmla="*/ 5143500 h 5143500"/>
              <a:gd name="connsiteX35" fmla="*/ 0 w 8281497"/>
              <a:gd name="connsiteY35" fmla="*/ 5143500 h 5143500"/>
              <a:gd name="connsiteX0" fmla="*/ 8193967 w 8281497"/>
              <a:gd name="connsiteY0" fmla="*/ 1028848 h 5143500"/>
              <a:gd name="connsiteX1" fmla="*/ 8221795 w 8281497"/>
              <a:gd name="connsiteY1" fmla="*/ 1035778 h 5143500"/>
              <a:gd name="connsiteX2" fmla="*/ 8281497 w 8281497"/>
              <a:gd name="connsiteY2" fmla="*/ 1125137 h 5143500"/>
              <a:gd name="connsiteX3" fmla="*/ 8281497 w 8281497"/>
              <a:gd name="connsiteY3" fmla="*/ 4004220 h 5143500"/>
              <a:gd name="connsiteX4" fmla="*/ 8213148 w 8281497"/>
              <a:gd name="connsiteY4" fmla="*/ 4106516 h 5143500"/>
              <a:gd name="connsiteX5" fmla="*/ 8092477 w 8281497"/>
              <a:gd name="connsiteY5" fmla="*/ 4082542 h 5143500"/>
              <a:gd name="connsiteX6" fmla="*/ 7409669 w 8281497"/>
              <a:gd name="connsiteY6" fmla="*/ 3400055 h 5143500"/>
              <a:gd name="connsiteX7" fmla="*/ 7242449 w 8281497"/>
              <a:gd name="connsiteY7" fmla="*/ 3400074 h 5143500"/>
              <a:gd name="connsiteX8" fmla="*/ 6569594 w 8281497"/>
              <a:gd name="connsiteY8" fmla="*/ 4072815 h 5143500"/>
              <a:gd name="connsiteX9" fmla="*/ 6365430 w 8281497"/>
              <a:gd name="connsiteY9" fmla="*/ 4072796 h 5143500"/>
              <a:gd name="connsiteX10" fmla="*/ 5834889 w 8281497"/>
              <a:gd name="connsiteY10" fmla="*/ 3542278 h 5143500"/>
              <a:gd name="connsiteX11" fmla="*/ 5834891 w 8281497"/>
              <a:gd name="connsiteY11" fmla="*/ 3542278 h 5143500"/>
              <a:gd name="connsiteX12" fmla="*/ 5792606 w 8281497"/>
              <a:gd name="connsiteY12" fmla="*/ 3440190 h 5143500"/>
              <a:gd name="connsiteX13" fmla="*/ 5834893 w 8281497"/>
              <a:gd name="connsiteY13" fmla="*/ 3338102 h 5143500"/>
              <a:gd name="connsiteX14" fmla="*/ 8116377 w 8281497"/>
              <a:gd name="connsiteY14" fmla="*/ 1056743 h 5143500"/>
              <a:gd name="connsiteX15" fmla="*/ 8193967 w 8281497"/>
              <a:gd name="connsiteY15" fmla="*/ 1028848 h 5143500"/>
              <a:gd name="connsiteX16" fmla="*/ 6462320 w 8281497"/>
              <a:gd name="connsiteY16" fmla="*/ 1028413 h 5143500"/>
              <a:gd name="connsiteX17" fmla="*/ 6564391 w 8281497"/>
              <a:gd name="connsiteY17" fmla="*/ 1070697 h 5143500"/>
              <a:gd name="connsiteX18" fmla="*/ 7094946 w 8281497"/>
              <a:gd name="connsiteY18" fmla="*/ 1601232 h 5143500"/>
              <a:gd name="connsiteX19" fmla="*/ 7094927 w 8281497"/>
              <a:gd name="connsiteY19" fmla="*/ 1601232 h 5143500"/>
              <a:gd name="connsiteX20" fmla="*/ 7137220 w 8281497"/>
              <a:gd name="connsiteY20" fmla="*/ 1703317 h 5143500"/>
              <a:gd name="connsiteX21" fmla="*/ 7094927 w 8281497"/>
              <a:gd name="connsiteY21" fmla="*/ 1805401 h 5143500"/>
              <a:gd name="connsiteX22" fmla="*/ 4813443 w 8281497"/>
              <a:gd name="connsiteY22" fmla="*/ 4086762 h 5143500"/>
              <a:gd name="connsiteX23" fmla="*/ 4708038 w 8281497"/>
              <a:gd name="connsiteY23" fmla="*/ 4107728 h 5143500"/>
              <a:gd name="connsiteX24" fmla="*/ 4648331 w 8281497"/>
              <a:gd name="connsiteY24" fmla="*/ 4018356 h 5143500"/>
              <a:gd name="connsiteX25" fmla="*/ 4648331 w 8281497"/>
              <a:gd name="connsiteY25" fmla="*/ 1139288 h 5143500"/>
              <a:gd name="connsiteX26" fmla="*/ 4716678 w 8281497"/>
              <a:gd name="connsiteY26" fmla="*/ 1036986 h 5143500"/>
              <a:gd name="connsiteX27" fmla="*/ 4837350 w 8281497"/>
              <a:gd name="connsiteY27" fmla="*/ 1060967 h 5143500"/>
              <a:gd name="connsiteX28" fmla="*/ 5520166 w 8281497"/>
              <a:gd name="connsiteY28" fmla="*/ 1743446 h 5143500"/>
              <a:gd name="connsiteX29" fmla="*/ 5687371 w 8281497"/>
              <a:gd name="connsiteY29" fmla="*/ 1743433 h 5143500"/>
              <a:gd name="connsiteX30" fmla="*/ 6360241 w 8281497"/>
              <a:gd name="connsiteY30" fmla="*/ 1070688 h 5143500"/>
              <a:gd name="connsiteX31" fmla="*/ 6462320 w 8281497"/>
              <a:gd name="connsiteY31" fmla="*/ 1028413 h 5143500"/>
              <a:gd name="connsiteX32" fmla="*/ 0 w 8281497"/>
              <a:gd name="connsiteY32" fmla="*/ 0 h 5143500"/>
              <a:gd name="connsiteX33" fmla="*/ 2926080 w 8281497"/>
              <a:gd name="connsiteY33" fmla="*/ 4032985 h 5143500"/>
              <a:gd name="connsiteX34" fmla="*/ 4042611 w 8281497"/>
              <a:gd name="connsiteY34" fmla="*/ 5143500 h 5143500"/>
              <a:gd name="connsiteX35" fmla="*/ 0 w 8281497"/>
              <a:gd name="connsiteY35" fmla="*/ 5143500 h 5143500"/>
              <a:gd name="connsiteX36" fmla="*/ 0 w 8281497"/>
              <a:gd name="connsiteY36" fmla="*/ 0 h 5143500"/>
              <a:gd name="connsiteX0" fmla="*/ 8193967 w 8281497"/>
              <a:gd name="connsiteY0" fmla="*/ 326204 h 4440856"/>
              <a:gd name="connsiteX1" fmla="*/ 8221795 w 8281497"/>
              <a:gd name="connsiteY1" fmla="*/ 333134 h 4440856"/>
              <a:gd name="connsiteX2" fmla="*/ 8281497 w 8281497"/>
              <a:gd name="connsiteY2" fmla="*/ 422493 h 4440856"/>
              <a:gd name="connsiteX3" fmla="*/ 8281497 w 8281497"/>
              <a:gd name="connsiteY3" fmla="*/ 3301576 h 4440856"/>
              <a:gd name="connsiteX4" fmla="*/ 8213148 w 8281497"/>
              <a:gd name="connsiteY4" fmla="*/ 3403872 h 4440856"/>
              <a:gd name="connsiteX5" fmla="*/ 8092477 w 8281497"/>
              <a:gd name="connsiteY5" fmla="*/ 3379898 h 4440856"/>
              <a:gd name="connsiteX6" fmla="*/ 7409669 w 8281497"/>
              <a:gd name="connsiteY6" fmla="*/ 2697411 h 4440856"/>
              <a:gd name="connsiteX7" fmla="*/ 7242449 w 8281497"/>
              <a:gd name="connsiteY7" fmla="*/ 2697430 h 4440856"/>
              <a:gd name="connsiteX8" fmla="*/ 6569594 w 8281497"/>
              <a:gd name="connsiteY8" fmla="*/ 3370171 h 4440856"/>
              <a:gd name="connsiteX9" fmla="*/ 6365430 w 8281497"/>
              <a:gd name="connsiteY9" fmla="*/ 3370152 h 4440856"/>
              <a:gd name="connsiteX10" fmla="*/ 5834889 w 8281497"/>
              <a:gd name="connsiteY10" fmla="*/ 2839634 h 4440856"/>
              <a:gd name="connsiteX11" fmla="*/ 5834891 w 8281497"/>
              <a:gd name="connsiteY11" fmla="*/ 2839634 h 4440856"/>
              <a:gd name="connsiteX12" fmla="*/ 5792606 w 8281497"/>
              <a:gd name="connsiteY12" fmla="*/ 2737546 h 4440856"/>
              <a:gd name="connsiteX13" fmla="*/ 5834893 w 8281497"/>
              <a:gd name="connsiteY13" fmla="*/ 2635458 h 4440856"/>
              <a:gd name="connsiteX14" fmla="*/ 8116377 w 8281497"/>
              <a:gd name="connsiteY14" fmla="*/ 354099 h 4440856"/>
              <a:gd name="connsiteX15" fmla="*/ 8193967 w 8281497"/>
              <a:gd name="connsiteY15" fmla="*/ 326204 h 4440856"/>
              <a:gd name="connsiteX16" fmla="*/ 6462320 w 8281497"/>
              <a:gd name="connsiteY16" fmla="*/ 325769 h 4440856"/>
              <a:gd name="connsiteX17" fmla="*/ 6564391 w 8281497"/>
              <a:gd name="connsiteY17" fmla="*/ 368053 h 4440856"/>
              <a:gd name="connsiteX18" fmla="*/ 7094946 w 8281497"/>
              <a:gd name="connsiteY18" fmla="*/ 898588 h 4440856"/>
              <a:gd name="connsiteX19" fmla="*/ 7094927 w 8281497"/>
              <a:gd name="connsiteY19" fmla="*/ 898588 h 4440856"/>
              <a:gd name="connsiteX20" fmla="*/ 7137220 w 8281497"/>
              <a:gd name="connsiteY20" fmla="*/ 1000673 h 4440856"/>
              <a:gd name="connsiteX21" fmla="*/ 7094927 w 8281497"/>
              <a:gd name="connsiteY21" fmla="*/ 1102757 h 4440856"/>
              <a:gd name="connsiteX22" fmla="*/ 4813443 w 8281497"/>
              <a:gd name="connsiteY22" fmla="*/ 3384118 h 4440856"/>
              <a:gd name="connsiteX23" fmla="*/ 4708038 w 8281497"/>
              <a:gd name="connsiteY23" fmla="*/ 3405084 h 4440856"/>
              <a:gd name="connsiteX24" fmla="*/ 4648331 w 8281497"/>
              <a:gd name="connsiteY24" fmla="*/ 3315712 h 4440856"/>
              <a:gd name="connsiteX25" fmla="*/ 4648331 w 8281497"/>
              <a:gd name="connsiteY25" fmla="*/ 436644 h 4440856"/>
              <a:gd name="connsiteX26" fmla="*/ 4716678 w 8281497"/>
              <a:gd name="connsiteY26" fmla="*/ 334342 h 4440856"/>
              <a:gd name="connsiteX27" fmla="*/ 4837350 w 8281497"/>
              <a:gd name="connsiteY27" fmla="*/ 358323 h 4440856"/>
              <a:gd name="connsiteX28" fmla="*/ 5520166 w 8281497"/>
              <a:gd name="connsiteY28" fmla="*/ 1040802 h 4440856"/>
              <a:gd name="connsiteX29" fmla="*/ 5687371 w 8281497"/>
              <a:gd name="connsiteY29" fmla="*/ 1040789 h 4440856"/>
              <a:gd name="connsiteX30" fmla="*/ 6360241 w 8281497"/>
              <a:gd name="connsiteY30" fmla="*/ 368044 h 4440856"/>
              <a:gd name="connsiteX31" fmla="*/ 6462320 w 8281497"/>
              <a:gd name="connsiteY31" fmla="*/ 325769 h 4440856"/>
              <a:gd name="connsiteX32" fmla="*/ 1443790 w 8281497"/>
              <a:gd name="connsiteY32" fmla="*/ 0 h 4440856"/>
              <a:gd name="connsiteX33" fmla="*/ 2926080 w 8281497"/>
              <a:gd name="connsiteY33" fmla="*/ 3330341 h 4440856"/>
              <a:gd name="connsiteX34" fmla="*/ 4042611 w 8281497"/>
              <a:gd name="connsiteY34" fmla="*/ 4440856 h 4440856"/>
              <a:gd name="connsiteX35" fmla="*/ 0 w 8281497"/>
              <a:gd name="connsiteY35" fmla="*/ 4440856 h 4440856"/>
              <a:gd name="connsiteX36" fmla="*/ 1443790 w 8281497"/>
              <a:gd name="connsiteY36" fmla="*/ 0 h 4440856"/>
              <a:gd name="connsiteX0" fmla="*/ 8193967 w 8281497"/>
              <a:gd name="connsiteY0" fmla="*/ 436 h 4115088"/>
              <a:gd name="connsiteX1" fmla="*/ 8221795 w 8281497"/>
              <a:gd name="connsiteY1" fmla="*/ 7366 h 4115088"/>
              <a:gd name="connsiteX2" fmla="*/ 8281497 w 8281497"/>
              <a:gd name="connsiteY2" fmla="*/ 96725 h 4115088"/>
              <a:gd name="connsiteX3" fmla="*/ 8281497 w 8281497"/>
              <a:gd name="connsiteY3" fmla="*/ 2975808 h 4115088"/>
              <a:gd name="connsiteX4" fmla="*/ 8213148 w 8281497"/>
              <a:gd name="connsiteY4" fmla="*/ 3078104 h 4115088"/>
              <a:gd name="connsiteX5" fmla="*/ 8092477 w 8281497"/>
              <a:gd name="connsiteY5" fmla="*/ 3054130 h 4115088"/>
              <a:gd name="connsiteX6" fmla="*/ 7409669 w 8281497"/>
              <a:gd name="connsiteY6" fmla="*/ 2371643 h 4115088"/>
              <a:gd name="connsiteX7" fmla="*/ 7242449 w 8281497"/>
              <a:gd name="connsiteY7" fmla="*/ 2371662 h 4115088"/>
              <a:gd name="connsiteX8" fmla="*/ 6569594 w 8281497"/>
              <a:gd name="connsiteY8" fmla="*/ 3044403 h 4115088"/>
              <a:gd name="connsiteX9" fmla="*/ 6365430 w 8281497"/>
              <a:gd name="connsiteY9" fmla="*/ 3044384 h 4115088"/>
              <a:gd name="connsiteX10" fmla="*/ 5834889 w 8281497"/>
              <a:gd name="connsiteY10" fmla="*/ 2513866 h 4115088"/>
              <a:gd name="connsiteX11" fmla="*/ 5834891 w 8281497"/>
              <a:gd name="connsiteY11" fmla="*/ 2513866 h 4115088"/>
              <a:gd name="connsiteX12" fmla="*/ 5792606 w 8281497"/>
              <a:gd name="connsiteY12" fmla="*/ 2411778 h 4115088"/>
              <a:gd name="connsiteX13" fmla="*/ 5834893 w 8281497"/>
              <a:gd name="connsiteY13" fmla="*/ 2309690 h 4115088"/>
              <a:gd name="connsiteX14" fmla="*/ 8116377 w 8281497"/>
              <a:gd name="connsiteY14" fmla="*/ 28331 h 4115088"/>
              <a:gd name="connsiteX15" fmla="*/ 8193967 w 8281497"/>
              <a:gd name="connsiteY15" fmla="*/ 436 h 4115088"/>
              <a:gd name="connsiteX16" fmla="*/ 6462320 w 8281497"/>
              <a:gd name="connsiteY16" fmla="*/ 1 h 4115088"/>
              <a:gd name="connsiteX17" fmla="*/ 6564391 w 8281497"/>
              <a:gd name="connsiteY17" fmla="*/ 42285 h 4115088"/>
              <a:gd name="connsiteX18" fmla="*/ 7094946 w 8281497"/>
              <a:gd name="connsiteY18" fmla="*/ 572820 h 4115088"/>
              <a:gd name="connsiteX19" fmla="*/ 7094927 w 8281497"/>
              <a:gd name="connsiteY19" fmla="*/ 572820 h 4115088"/>
              <a:gd name="connsiteX20" fmla="*/ 7137220 w 8281497"/>
              <a:gd name="connsiteY20" fmla="*/ 674905 h 4115088"/>
              <a:gd name="connsiteX21" fmla="*/ 7094927 w 8281497"/>
              <a:gd name="connsiteY21" fmla="*/ 776989 h 4115088"/>
              <a:gd name="connsiteX22" fmla="*/ 4813443 w 8281497"/>
              <a:gd name="connsiteY22" fmla="*/ 3058350 h 4115088"/>
              <a:gd name="connsiteX23" fmla="*/ 4708038 w 8281497"/>
              <a:gd name="connsiteY23" fmla="*/ 3079316 h 4115088"/>
              <a:gd name="connsiteX24" fmla="*/ 4648331 w 8281497"/>
              <a:gd name="connsiteY24" fmla="*/ 2989944 h 4115088"/>
              <a:gd name="connsiteX25" fmla="*/ 4648331 w 8281497"/>
              <a:gd name="connsiteY25" fmla="*/ 110876 h 4115088"/>
              <a:gd name="connsiteX26" fmla="*/ 4716678 w 8281497"/>
              <a:gd name="connsiteY26" fmla="*/ 8574 h 4115088"/>
              <a:gd name="connsiteX27" fmla="*/ 4837350 w 8281497"/>
              <a:gd name="connsiteY27" fmla="*/ 32555 h 4115088"/>
              <a:gd name="connsiteX28" fmla="*/ 5520166 w 8281497"/>
              <a:gd name="connsiteY28" fmla="*/ 715034 h 4115088"/>
              <a:gd name="connsiteX29" fmla="*/ 5687371 w 8281497"/>
              <a:gd name="connsiteY29" fmla="*/ 715021 h 4115088"/>
              <a:gd name="connsiteX30" fmla="*/ 6360241 w 8281497"/>
              <a:gd name="connsiteY30" fmla="*/ 42276 h 4115088"/>
              <a:gd name="connsiteX31" fmla="*/ 6462320 w 8281497"/>
              <a:gd name="connsiteY31" fmla="*/ 1 h 4115088"/>
              <a:gd name="connsiteX32" fmla="*/ 0 w 8281497"/>
              <a:gd name="connsiteY32" fmla="*/ 4115088 h 4115088"/>
              <a:gd name="connsiteX33" fmla="*/ 2926080 w 8281497"/>
              <a:gd name="connsiteY33" fmla="*/ 3004573 h 4115088"/>
              <a:gd name="connsiteX34" fmla="*/ 4042611 w 8281497"/>
              <a:gd name="connsiteY34" fmla="*/ 4115088 h 4115088"/>
              <a:gd name="connsiteX35" fmla="*/ 0 w 8281497"/>
              <a:gd name="connsiteY35" fmla="*/ 4115088 h 4115088"/>
              <a:gd name="connsiteX0" fmla="*/ 8193967 w 8281497"/>
              <a:gd name="connsiteY0" fmla="*/ 436 h 4115088"/>
              <a:gd name="connsiteX1" fmla="*/ 8221795 w 8281497"/>
              <a:gd name="connsiteY1" fmla="*/ 7366 h 4115088"/>
              <a:gd name="connsiteX2" fmla="*/ 8281497 w 8281497"/>
              <a:gd name="connsiteY2" fmla="*/ 96725 h 4115088"/>
              <a:gd name="connsiteX3" fmla="*/ 8281497 w 8281497"/>
              <a:gd name="connsiteY3" fmla="*/ 2975808 h 4115088"/>
              <a:gd name="connsiteX4" fmla="*/ 8213148 w 8281497"/>
              <a:gd name="connsiteY4" fmla="*/ 3078104 h 4115088"/>
              <a:gd name="connsiteX5" fmla="*/ 8092477 w 8281497"/>
              <a:gd name="connsiteY5" fmla="*/ 3054130 h 4115088"/>
              <a:gd name="connsiteX6" fmla="*/ 7409669 w 8281497"/>
              <a:gd name="connsiteY6" fmla="*/ 2371643 h 4115088"/>
              <a:gd name="connsiteX7" fmla="*/ 7242449 w 8281497"/>
              <a:gd name="connsiteY7" fmla="*/ 2371662 h 4115088"/>
              <a:gd name="connsiteX8" fmla="*/ 6569594 w 8281497"/>
              <a:gd name="connsiteY8" fmla="*/ 3044403 h 4115088"/>
              <a:gd name="connsiteX9" fmla="*/ 6365430 w 8281497"/>
              <a:gd name="connsiteY9" fmla="*/ 3044384 h 4115088"/>
              <a:gd name="connsiteX10" fmla="*/ 5834889 w 8281497"/>
              <a:gd name="connsiteY10" fmla="*/ 2513866 h 4115088"/>
              <a:gd name="connsiteX11" fmla="*/ 5834891 w 8281497"/>
              <a:gd name="connsiteY11" fmla="*/ 2513866 h 4115088"/>
              <a:gd name="connsiteX12" fmla="*/ 5792606 w 8281497"/>
              <a:gd name="connsiteY12" fmla="*/ 2411778 h 4115088"/>
              <a:gd name="connsiteX13" fmla="*/ 5834893 w 8281497"/>
              <a:gd name="connsiteY13" fmla="*/ 2309690 h 4115088"/>
              <a:gd name="connsiteX14" fmla="*/ 8116377 w 8281497"/>
              <a:gd name="connsiteY14" fmla="*/ 28331 h 4115088"/>
              <a:gd name="connsiteX15" fmla="*/ 8193967 w 8281497"/>
              <a:gd name="connsiteY15" fmla="*/ 436 h 4115088"/>
              <a:gd name="connsiteX16" fmla="*/ 6462320 w 8281497"/>
              <a:gd name="connsiteY16" fmla="*/ 1 h 4115088"/>
              <a:gd name="connsiteX17" fmla="*/ 6564391 w 8281497"/>
              <a:gd name="connsiteY17" fmla="*/ 42285 h 4115088"/>
              <a:gd name="connsiteX18" fmla="*/ 7094946 w 8281497"/>
              <a:gd name="connsiteY18" fmla="*/ 572820 h 4115088"/>
              <a:gd name="connsiteX19" fmla="*/ 7094927 w 8281497"/>
              <a:gd name="connsiteY19" fmla="*/ 572820 h 4115088"/>
              <a:gd name="connsiteX20" fmla="*/ 7137220 w 8281497"/>
              <a:gd name="connsiteY20" fmla="*/ 674905 h 4115088"/>
              <a:gd name="connsiteX21" fmla="*/ 7094927 w 8281497"/>
              <a:gd name="connsiteY21" fmla="*/ 776989 h 4115088"/>
              <a:gd name="connsiteX22" fmla="*/ 4813443 w 8281497"/>
              <a:gd name="connsiteY22" fmla="*/ 3058350 h 4115088"/>
              <a:gd name="connsiteX23" fmla="*/ 4708038 w 8281497"/>
              <a:gd name="connsiteY23" fmla="*/ 3079316 h 4115088"/>
              <a:gd name="connsiteX24" fmla="*/ 4648331 w 8281497"/>
              <a:gd name="connsiteY24" fmla="*/ 2989944 h 4115088"/>
              <a:gd name="connsiteX25" fmla="*/ 4648331 w 8281497"/>
              <a:gd name="connsiteY25" fmla="*/ 110876 h 4115088"/>
              <a:gd name="connsiteX26" fmla="*/ 4716678 w 8281497"/>
              <a:gd name="connsiteY26" fmla="*/ 8574 h 4115088"/>
              <a:gd name="connsiteX27" fmla="*/ 4837350 w 8281497"/>
              <a:gd name="connsiteY27" fmla="*/ 32555 h 4115088"/>
              <a:gd name="connsiteX28" fmla="*/ 5520166 w 8281497"/>
              <a:gd name="connsiteY28" fmla="*/ 715034 h 4115088"/>
              <a:gd name="connsiteX29" fmla="*/ 5687371 w 8281497"/>
              <a:gd name="connsiteY29" fmla="*/ 715021 h 4115088"/>
              <a:gd name="connsiteX30" fmla="*/ 6360241 w 8281497"/>
              <a:gd name="connsiteY30" fmla="*/ 42276 h 4115088"/>
              <a:gd name="connsiteX31" fmla="*/ 6462320 w 8281497"/>
              <a:gd name="connsiteY31" fmla="*/ 1 h 4115088"/>
              <a:gd name="connsiteX32" fmla="*/ 0 w 8281497"/>
              <a:gd name="connsiteY32" fmla="*/ 4115088 h 4115088"/>
              <a:gd name="connsiteX33" fmla="*/ 4042611 w 8281497"/>
              <a:gd name="connsiteY33" fmla="*/ 4115088 h 4115088"/>
              <a:gd name="connsiteX34" fmla="*/ 0 w 8281497"/>
              <a:gd name="connsiteY34" fmla="*/ 4115088 h 4115088"/>
              <a:gd name="connsiteX0" fmla="*/ 3545636 w 3633166"/>
              <a:gd name="connsiteY0" fmla="*/ 436 h 3086680"/>
              <a:gd name="connsiteX1" fmla="*/ 3573464 w 3633166"/>
              <a:gd name="connsiteY1" fmla="*/ 7366 h 3086680"/>
              <a:gd name="connsiteX2" fmla="*/ 3633166 w 3633166"/>
              <a:gd name="connsiteY2" fmla="*/ 96725 h 3086680"/>
              <a:gd name="connsiteX3" fmla="*/ 3633166 w 3633166"/>
              <a:gd name="connsiteY3" fmla="*/ 2975808 h 3086680"/>
              <a:gd name="connsiteX4" fmla="*/ 3564817 w 3633166"/>
              <a:gd name="connsiteY4" fmla="*/ 3078104 h 3086680"/>
              <a:gd name="connsiteX5" fmla="*/ 3444146 w 3633166"/>
              <a:gd name="connsiteY5" fmla="*/ 3054130 h 3086680"/>
              <a:gd name="connsiteX6" fmla="*/ 2761338 w 3633166"/>
              <a:gd name="connsiteY6" fmla="*/ 2371643 h 3086680"/>
              <a:gd name="connsiteX7" fmla="*/ 2594118 w 3633166"/>
              <a:gd name="connsiteY7" fmla="*/ 2371662 h 3086680"/>
              <a:gd name="connsiteX8" fmla="*/ 1921263 w 3633166"/>
              <a:gd name="connsiteY8" fmla="*/ 3044403 h 3086680"/>
              <a:gd name="connsiteX9" fmla="*/ 1717099 w 3633166"/>
              <a:gd name="connsiteY9" fmla="*/ 3044384 h 3086680"/>
              <a:gd name="connsiteX10" fmla="*/ 1186558 w 3633166"/>
              <a:gd name="connsiteY10" fmla="*/ 2513866 h 3086680"/>
              <a:gd name="connsiteX11" fmla="*/ 1186560 w 3633166"/>
              <a:gd name="connsiteY11" fmla="*/ 2513866 h 3086680"/>
              <a:gd name="connsiteX12" fmla="*/ 1144275 w 3633166"/>
              <a:gd name="connsiteY12" fmla="*/ 2411778 h 3086680"/>
              <a:gd name="connsiteX13" fmla="*/ 1186562 w 3633166"/>
              <a:gd name="connsiteY13" fmla="*/ 2309690 h 3086680"/>
              <a:gd name="connsiteX14" fmla="*/ 3468046 w 3633166"/>
              <a:gd name="connsiteY14" fmla="*/ 28331 h 3086680"/>
              <a:gd name="connsiteX15" fmla="*/ 3545636 w 3633166"/>
              <a:gd name="connsiteY15" fmla="*/ 436 h 3086680"/>
              <a:gd name="connsiteX16" fmla="*/ 1813989 w 3633166"/>
              <a:gd name="connsiteY16" fmla="*/ 1 h 3086680"/>
              <a:gd name="connsiteX17" fmla="*/ 1916060 w 3633166"/>
              <a:gd name="connsiteY17" fmla="*/ 42285 h 3086680"/>
              <a:gd name="connsiteX18" fmla="*/ 2446615 w 3633166"/>
              <a:gd name="connsiteY18" fmla="*/ 572820 h 3086680"/>
              <a:gd name="connsiteX19" fmla="*/ 2446596 w 3633166"/>
              <a:gd name="connsiteY19" fmla="*/ 572820 h 3086680"/>
              <a:gd name="connsiteX20" fmla="*/ 2488889 w 3633166"/>
              <a:gd name="connsiteY20" fmla="*/ 674905 h 3086680"/>
              <a:gd name="connsiteX21" fmla="*/ 2446596 w 3633166"/>
              <a:gd name="connsiteY21" fmla="*/ 776989 h 3086680"/>
              <a:gd name="connsiteX22" fmla="*/ 165112 w 3633166"/>
              <a:gd name="connsiteY22" fmla="*/ 3058350 h 3086680"/>
              <a:gd name="connsiteX23" fmla="*/ 59707 w 3633166"/>
              <a:gd name="connsiteY23" fmla="*/ 3079316 h 3086680"/>
              <a:gd name="connsiteX24" fmla="*/ 0 w 3633166"/>
              <a:gd name="connsiteY24" fmla="*/ 2989944 h 3086680"/>
              <a:gd name="connsiteX25" fmla="*/ 0 w 3633166"/>
              <a:gd name="connsiteY25" fmla="*/ 110876 h 3086680"/>
              <a:gd name="connsiteX26" fmla="*/ 68347 w 3633166"/>
              <a:gd name="connsiteY26" fmla="*/ 8574 h 3086680"/>
              <a:gd name="connsiteX27" fmla="*/ 189019 w 3633166"/>
              <a:gd name="connsiteY27" fmla="*/ 32555 h 3086680"/>
              <a:gd name="connsiteX28" fmla="*/ 871835 w 3633166"/>
              <a:gd name="connsiteY28" fmla="*/ 715034 h 3086680"/>
              <a:gd name="connsiteX29" fmla="*/ 1039040 w 3633166"/>
              <a:gd name="connsiteY29" fmla="*/ 715021 h 3086680"/>
              <a:gd name="connsiteX30" fmla="*/ 1711910 w 3633166"/>
              <a:gd name="connsiteY30" fmla="*/ 42276 h 3086680"/>
              <a:gd name="connsiteX31" fmla="*/ 1813989 w 3633166"/>
              <a:gd name="connsiteY31" fmla="*/ 1 h 3086680"/>
              <a:gd name="connsiteX0" fmla="*/ 3545636 w 3633166"/>
              <a:gd name="connsiteY0" fmla="*/ 159277 h 3245521"/>
              <a:gd name="connsiteX1" fmla="*/ 3573464 w 3633166"/>
              <a:gd name="connsiteY1" fmla="*/ 166207 h 3245521"/>
              <a:gd name="connsiteX2" fmla="*/ 3633166 w 3633166"/>
              <a:gd name="connsiteY2" fmla="*/ 255566 h 3245521"/>
              <a:gd name="connsiteX3" fmla="*/ 3633166 w 3633166"/>
              <a:gd name="connsiteY3" fmla="*/ 3134649 h 3245521"/>
              <a:gd name="connsiteX4" fmla="*/ 3564817 w 3633166"/>
              <a:gd name="connsiteY4" fmla="*/ 3236945 h 3245521"/>
              <a:gd name="connsiteX5" fmla="*/ 3444146 w 3633166"/>
              <a:gd name="connsiteY5" fmla="*/ 3212971 h 3245521"/>
              <a:gd name="connsiteX6" fmla="*/ 2761338 w 3633166"/>
              <a:gd name="connsiteY6" fmla="*/ 2530484 h 3245521"/>
              <a:gd name="connsiteX7" fmla="*/ 2594118 w 3633166"/>
              <a:gd name="connsiteY7" fmla="*/ 2530503 h 3245521"/>
              <a:gd name="connsiteX8" fmla="*/ 1921263 w 3633166"/>
              <a:gd name="connsiteY8" fmla="*/ 3203244 h 3245521"/>
              <a:gd name="connsiteX9" fmla="*/ 1717099 w 3633166"/>
              <a:gd name="connsiteY9" fmla="*/ 3203225 h 3245521"/>
              <a:gd name="connsiteX10" fmla="*/ 1186558 w 3633166"/>
              <a:gd name="connsiteY10" fmla="*/ 2672707 h 3245521"/>
              <a:gd name="connsiteX11" fmla="*/ 1186560 w 3633166"/>
              <a:gd name="connsiteY11" fmla="*/ 2672707 h 3245521"/>
              <a:gd name="connsiteX12" fmla="*/ 1144275 w 3633166"/>
              <a:gd name="connsiteY12" fmla="*/ 2570619 h 3245521"/>
              <a:gd name="connsiteX13" fmla="*/ 1186562 w 3633166"/>
              <a:gd name="connsiteY13" fmla="*/ 2468531 h 3245521"/>
              <a:gd name="connsiteX14" fmla="*/ 3468046 w 3633166"/>
              <a:gd name="connsiteY14" fmla="*/ 187172 h 3245521"/>
              <a:gd name="connsiteX15" fmla="*/ 3545636 w 3633166"/>
              <a:gd name="connsiteY15" fmla="*/ 159277 h 3245521"/>
              <a:gd name="connsiteX16" fmla="*/ 1813989 w 3633166"/>
              <a:gd name="connsiteY16" fmla="*/ 158842 h 3245521"/>
              <a:gd name="connsiteX17" fmla="*/ 1916060 w 3633166"/>
              <a:gd name="connsiteY17" fmla="*/ 201126 h 3245521"/>
              <a:gd name="connsiteX18" fmla="*/ 2446615 w 3633166"/>
              <a:gd name="connsiteY18" fmla="*/ 731661 h 3245521"/>
              <a:gd name="connsiteX19" fmla="*/ 2446596 w 3633166"/>
              <a:gd name="connsiteY19" fmla="*/ 731661 h 3245521"/>
              <a:gd name="connsiteX20" fmla="*/ 2488889 w 3633166"/>
              <a:gd name="connsiteY20" fmla="*/ 833746 h 3245521"/>
              <a:gd name="connsiteX21" fmla="*/ 2446596 w 3633166"/>
              <a:gd name="connsiteY21" fmla="*/ 935830 h 3245521"/>
              <a:gd name="connsiteX22" fmla="*/ 165112 w 3633166"/>
              <a:gd name="connsiteY22" fmla="*/ 3217191 h 3245521"/>
              <a:gd name="connsiteX23" fmla="*/ 59707 w 3633166"/>
              <a:gd name="connsiteY23" fmla="*/ 3238157 h 3245521"/>
              <a:gd name="connsiteX24" fmla="*/ 0 w 3633166"/>
              <a:gd name="connsiteY24" fmla="*/ 3148785 h 3245521"/>
              <a:gd name="connsiteX25" fmla="*/ 0 w 3633166"/>
              <a:gd name="connsiteY25" fmla="*/ 269717 h 3245521"/>
              <a:gd name="connsiteX26" fmla="*/ 189019 w 3633166"/>
              <a:gd name="connsiteY26" fmla="*/ 191396 h 3245521"/>
              <a:gd name="connsiteX27" fmla="*/ 871835 w 3633166"/>
              <a:gd name="connsiteY27" fmla="*/ 873875 h 3245521"/>
              <a:gd name="connsiteX28" fmla="*/ 1039040 w 3633166"/>
              <a:gd name="connsiteY28" fmla="*/ 873862 h 3245521"/>
              <a:gd name="connsiteX29" fmla="*/ 1711910 w 3633166"/>
              <a:gd name="connsiteY29" fmla="*/ 201117 h 3245521"/>
              <a:gd name="connsiteX30" fmla="*/ 1813989 w 3633166"/>
              <a:gd name="connsiteY30" fmla="*/ 158842 h 3245521"/>
              <a:gd name="connsiteX0" fmla="*/ 3545636 w 3633166"/>
              <a:gd name="connsiteY0" fmla="*/ 436 h 3086680"/>
              <a:gd name="connsiteX1" fmla="*/ 3573464 w 3633166"/>
              <a:gd name="connsiteY1" fmla="*/ 7366 h 3086680"/>
              <a:gd name="connsiteX2" fmla="*/ 3633166 w 3633166"/>
              <a:gd name="connsiteY2" fmla="*/ 96725 h 3086680"/>
              <a:gd name="connsiteX3" fmla="*/ 3633166 w 3633166"/>
              <a:gd name="connsiteY3" fmla="*/ 2975808 h 3086680"/>
              <a:gd name="connsiteX4" fmla="*/ 3564817 w 3633166"/>
              <a:gd name="connsiteY4" fmla="*/ 3078104 h 3086680"/>
              <a:gd name="connsiteX5" fmla="*/ 3444146 w 3633166"/>
              <a:gd name="connsiteY5" fmla="*/ 3054130 h 3086680"/>
              <a:gd name="connsiteX6" fmla="*/ 2761338 w 3633166"/>
              <a:gd name="connsiteY6" fmla="*/ 2371643 h 3086680"/>
              <a:gd name="connsiteX7" fmla="*/ 2594118 w 3633166"/>
              <a:gd name="connsiteY7" fmla="*/ 2371662 h 3086680"/>
              <a:gd name="connsiteX8" fmla="*/ 1921263 w 3633166"/>
              <a:gd name="connsiteY8" fmla="*/ 3044403 h 3086680"/>
              <a:gd name="connsiteX9" fmla="*/ 1717099 w 3633166"/>
              <a:gd name="connsiteY9" fmla="*/ 3044384 h 3086680"/>
              <a:gd name="connsiteX10" fmla="*/ 1186558 w 3633166"/>
              <a:gd name="connsiteY10" fmla="*/ 2513866 h 3086680"/>
              <a:gd name="connsiteX11" fmla="*/ 1186560 w 3633166"/>
              <a:gd name="connsiteY11" fmla="*/ 2513866 h 3086680"/>
              <a:gd name="connsiteX12" fmla="*/ 1144275 w 3633166"/>
              <a:gd name="connsiteY12" fmla="*/ 2411778 h 3086680"/>
              <a:gd name="connsiteX13" fmla="*/ 1186562 w 3633166"/>
              <a:gd name="connsiteY13" fmla="*/ 2309690 h 3086680"/>
              <a:gd name="connsiteX14" fmla="*/ 3468046 w 3633166"/>
              <a:gd name="connsiteY14" fmla="*/ 28331 h 3086680"/>
              <a:gd name="connsiteX15" fmla="*/ 3545636 w 3633166"/>
              <a:gd name="connsiteY15" fmla="*/ 436 h 3086680"/>
              <a:gd name="connsiteX16" fmla="*/ 1813989 w 3633166"/>
              <a:gd name="connsiteY16" fmla="*/ 1 h 3086680"/>
              <a:gd name="connsiteX17" fmla="*/ 1916060 w 3633166"/>
              <a:gd name="connsiteY17" fmla="*/ 42285 h 3086680"/>
              <a:gd name="connsiteX18" fmla="*/ 2446615 w 3633166"/>
              <a:gd name="connsiteY18" fmla="*/ 572820 h 3086680"/>
              <a:gd name="connsiteX19" fmla="*/ 2446596 w 3633166"/>
              <a:gd name="connsiteY19" fmla="*/ 572820 h 3086680"/>
              <a:gd name="connsiteX20" fmla="*/ 2488889 w 3633166"/>
              <a:gd name="connsiteY20" fmla="*/ 674905 h 3086680"/>
              <a:gd name="connsiteX21" fmla="*/ 2446596 w 3633166"/>
              <a:gd name="connsiteY21" fmla="*/ 776989 h 3086680"/>
              <a:gd name="connsiteX22" fmla="*/ 165112 w 3633166"/>
              <a:gd name="connsiteY22" fmla="*/ 3058350 h 3086680"/>
              <a:gd name="connsiteX23" fmla="*/ 59707 w 3633166"/>
              <a:gd name="connsiteY23" fmla="*/ 3079316 h 3086680"/>
              <a:gd name="connsiteX24" fmla="*/ 0 w 3633166"/>
              <a:gd name="connsiteY24" fmla="*/ 2989944 h 3086680"/>
              <a:gd name="connsiteX25" fmla="*/ 189019 w 3633166"/>
              <a:gd name="connsiteY25" fmla="*/ 32555 h 3086680"/>
              <a:gd name="connsiteX26" fmla="*/ 871835 w 3633166"/>
              <a:gd name="connsiteY26" fmla="*/ 715034 h 3086680"/>
              <a:gd name="connsiteX27" fmla="*/ 1039040 w 3633166"/>
              <a:gd name="connsiteY27" fmla="*/ 715021 h 3086680"/>
              <a:gd name="connsiteX28" fmla="*/ 1711910 w 3633166"/>
              <a:gd name="connsiteY28" fmla="*/ 42276 h 3086680"/>
              <a:gd name="connsiteX29" fmla="*/ 1813989 w 3633166"/>
              <a:gd name="connsiteY29" fmla="*/ 1 h 3086680"/>
              <a:gd name="connsiteX0" fmla="*/ 3486070 w 3573600"/>
              <a:gd name="connsiteY0" fmla="*/ 436 h 3304161"/>
              <a:gd name="connsiteX1" fmla="*/ 3513898 w 3573600"/>
              <a:gd name="connsiteY1" fmla="*/ 7366 h 3304161"/>
              <a:gd name="connsiteX2" fmla="*/ 3573600 w 3573600"/>
              <a:gd name="connsiteY2" fmla="*/ 96725 h 3304161"/>
              <a:gd name="connsiteX3" fmla="*/ 3573600 w 3573600"/>
              <a:gd name="connsiteY3" fmla="*/ 2975808 h 3304161"/>
              <a:gd name="connsiteX4" fmla="*/ 3505251 w 3573600"/>
              <a:gd name="connsiteY4" fmla="*/ 3078104 h 3304161"/>
              <a:gd name="connsiteX5" fmla="*/ 3384580 w 3573600"/>
              <a:gd name="connsiteY5" fmla="*/ 3054130 h 3304161"/>
              <a:gd name="connsiteX6" fmla="*/ 2701772 w 3573600"/>
              <a:gd name="connsiteY6" fmla="*/ 2371643 h 3304161"/>
              <a:gd name="connsiteX7" fmla="*/ 2534552 w 3573600"/>
              <a:gd name="connsiteY7" fmla="*/ 2371662 h 3304161"/>
              <a:gd name="connsiteX8" fmla="*/ 1861697 w 3573600"/>
              <a:gd name="connsiteY8" fmla="*/ 3044403 h 3304161"/>
              <a:gd name="connsiteX9" fmla="*/ 1657533 w 3573600"/>
              <a:gd name="connsiteY9" fmla="*/ 3044384 h 3304161"/>
              <a:gd name="connsiteX10" fmla="*/ 1126992 w 3573600"/>
              <a:gd name="connsiteY10" fmla="*/ 2513866 h 3304161"/>
              <a:gd name="connsiteX11" fmla="*/ 1126994 w 3573600"/>
              <a:gd name="connsiteY11" fmla="*/ 2513866 h 3304161"/>
              <a:gd name="connsiteX12" fmla="*/ 1084709 w 3573600"/>
              <a:gd name="connsiteY12" fmla="*/ 2411778 h 3304161"/>
              <a:gd name="connsiteX13" fmla="*/ 1126996 w 3573600"/>
              <a:gd name="connsiteY13" fmla="*/ 2309690 h 3304161"/>
              <a:gd name="connsiteX14" fmla="*/ 3408480 w 3573600"/>
              <a:gd name="connsiteY14" fmla="*/ 28331 h 3304161"/>
              <a:gd name="connsiteX15" fmla="*/ 3486070 w 3573600"/>
              <a:gd name="connsiteY15" fmla="*/ 436 h 3304161"/>
              <a:gd name="connsiteX16" fmla="*/ 1754423 w 3573600"/>
              <a:gd name="connsiteY16" fmla="*/ 1 h 3304161"/>
              <a:gd name="connsiteX17" fmla="*/ 1856494 w 3573600"/>
              <a:gd name="connsiteY17" fmla="*/ 42285 h 3304161"/>
              <a:gd name="connsiteX18" fmla="*/ 2387049 w 3573600"/>
              <a:gd name="connsiteY18" fmla="*/ 572820 h 3304161"/>
              <a:gd name="connsiteX19" fmla="*/ 2387030 w 3573600"/>
              <a:gd name="connsiteY19" fmla="*/ 572820 h 3304161"/>
              <a:gd name="connsiteX20" fmla="*/ 2429323 w 3573600"/>
              <a:gd name="connsiteY20" fmla="*/ 674905 h 3304161"/>
              <a:gd name="connsiteX21" fmla="*/ 2387030 w 3573600"/>
              <a:gd name="connsiteY21" fmla="*/ 776989 h 3304161"/>
              <a:gd name="connsiteX22" fmla="*/ 105546 w 3573600"/>
              <a:gd name="connsiteY22" fmla="*/ 3058350 h 3304161"/>
              <a:gd name="connsiteX23" fmla="*/ 141 w 3573600"/>
              <a:gd name="connsiteY23" fmla="*/ 3079316 h 3304161"/>
              <a:gd name="connsiteX24" fmla="*/ 129453 w 3573600"/>
              <a:gd name="connsiteY24" fmla="*/ 32555 h 3304161"/>
              <a:gd name="connsiteX25" fmla="*/ 812269 w 3573600"/>
              <a:gd name="connsiteY25" fmla="*/ 715034 h 3304161"/>
              <a:gd name="connsiteX26" fmla="*/ 979474 w 3573600"/>
              <a:gd name="connsiteY26" fmla="*/ 715021 h 3304161"/>
              <a:gd name="connsiteX27" fmla="*/ 1652344 w 3573600"/>
              <a:gd name="connsiteY27" fmla="*/ 42276 h 3304161"/>
              <a:gd name="connsiteX28" fmla="*/ 1754423 w 3573600"/>
              <a:gd name="connsiteY28" fmla="*/ 1 h 3304161"/>
              <a:gd name="connsiteX0" fmla="*/ 3569374 w 3656904"/>
              <a:gd name="connsiteY0" fmla="*/ 436 h 3086678"/>
              <a:gd name="connsiteX1" fmla="*/ 3597202 w 3656904"/>
              <a:gd name="connsiteY1" fmla="*/ 7366 h 3086678"/>
              <a:gd name="connsiteX2" fmla="*/ 3656904 w 3656904"/>
              <a:gd name="connsiteY2" fmla="*/ 96725 h 3086678"/>
              <a:gd name="connsiteX3" fmla="*/ 3656904 w 3656904"/>
              <a:gd name="connsiteY3" fmla="*/ 2975808 h 3086678"/>
              <a:gd name="connsiteX4" fmla="*/ 3588555 w 3656904"/>
              <a:gd name="connsiteY4" fmla="*/ 3078104 h 3086678"/>
              <a:gd name="connsiteX5" fmla="*/ 3467884 w 3656904"/>
              <a:gd name="connsiteY5" fmla="*/ 3054130 h 3086678"/>
              <a:gd name="connsiteX6" fmla="*/ 2785076 w 3656904"/>
              <a:gd name="connsiteY6" fmla="*/ 2371643 h 3086678"/>
              <a:gd name="connsiteX7" fmla="*/ 2617856 w 3656904"/>
              <a:gd name="connsiteY7" fmla="*/ 2371662 h 3086678"/>
              <a:gd name="connsiteX8" fmla="*/ 1945001 w 3656904"/>
              <a:gd name="connsiteY8" fmla="*/ 3044403 h 3086678"/>
              <a:gd name="connsiteX9" fmla="*/ 1740837 w 3656904"/>
              <a:gd name="connsiteY9" fmla="*/ 3044384 h 3086678"/>
              <a:gd name="connsiteX10" fmla="*/ 1210296 w 3656904"/>
              <a:gd name="connsiteY10" fmla="*/ 2513866 h 3086678"/>
              <a:gd name="connsiteX11" fmla="*/ 1210298 w 3656904"/>
              <a:gd name="connsiteY11" fmla="*/ 2513866 h 3086678"/>
              <a:gd name="connsiteX12" fmla="*/ 1168013 w 3656904"/>
              <a:gd name="connsiteY12" fmla="*/ 2411778 h 3086678"/>
              <a:gd name="connsiteX13" fmla="*/ 1210300 w 3656904"/>
              <a:gd name="connsiteY13" fmla="*/ 2309690 h 3086678"/>
              <a:gd name="connsiteX14" fmla="*/ 3491784 w 3656904"/>
              <a:gd name="connsiteY14" fmla="*/ 28331 h 3086678"/>
              <a:gd name="connsiteX15" fmla="*/ 3569374 w 3656904"/>
              <a:gd name="connsiteY15" fmla="*/ 436 h 3086678"/>
              <a:gd name="connsiteX16" fmla="*/ 1837727 w 3656904"/>
              <a:gd name="connsiteY16" fmla="*/ 1 h 3086678"/>
              <a:gd name="connsiteX17" fmla="*/ 1939798 w 3656904"/>
              <a:gd name="connsiteY17" fmla="*/ 42285 h 3086678"/>
              <a:gd name="connsiteX18" fmla="*/ 2470353 w 3656904"/>
              <a:gd name="connsiteY18" fmla="*/ 572820 h 3086678"/>
              <a:gd name="connsiteX19" fmla="*/ 2470334 w 3656904"/>
              <a:gd name="connsiteY19" fmla="*/ 572820 h 3086678"/>
              <a:gd name="connsiteX20" fmla="*/ 2512627 w 3656904"/>
              <a:gd name="connsiteY20" fmla="*/ 674905 h 3086678"/>
              <a:gd name="connsiteX21" fmla="*/ 2470334 w 3656904"/>
              <a:gd name="connsiteY21" fmla="*/ 776989 h 3086678"/>
              <a:gd name="connsiteX22" fmla="*/ 188850 w 3656904"/>
              <a:gd name="connsiteY22" fmla="*/ 3058350 h 3086678"/>
              <a:gd name="connsiteX23" fmla="*/ 212757 w 3656904"/>
              <a:gd name="connsiteY23" fmla="*/ 32555 h 3086678"/>
              <a:gd name="connsiteX24" fmla="*/ 895573 w 3656904"/>
              <a:gd name="connsiteY24" fmla="*/ 715034 h 3086678"/>
              <a:gd name="connsiteX25" fmla="*/ 1062778 w 3656904"/>
              <a:gd name="connsiteY25" fmla="*/ 715021 h 3086678"/>
              <a:gd name="connsiteX26" fmla="*/ 1735648 w 3656904"/>
              <a:gd name="connsiteY26" fmla="*/ 42276 h 3086678"/>
              <a:gd name="connsiteX27" fmla="*/ 1837727 w 3656904"/>
              <a:gd name="connsiteY27" fmla="*/ 1 h 3086678"/>
              <a:gd name="connsiteX0" fmla="*/ 3415776 w 3503306"/>
              <a:gd name="connsiteY0" fmla="*/ 436 h 3086678"/>
              <a:gd name="connsiteX1" fmla="*/ 3443604 w 3503306"/>
              <a:gd name="connsiteY1" fmla="*/ 7366 h 3086678"/>
              <a:gd name="connsiteX2" fmla="*/ 3503306 w 3503306"/>
              <a:gd name="connsiteY2" fmla="*/ 96725 h 3086678"/>
              <a:gd name="connsiteX3" fmla="*/ 3503306 w 3503306"/>
              <a:gd name="connsiteY3" fmla="*/ 2975808 h 3086678"/>
              <a:gd name="connsiteX4" fmla="*/ 3434957 w 3503306"/>
              <a:gd name="connsiteY4" fmla="*/ 3078104 h 3086678"/>
              <a:gd name="connsiteX5" fmla="*/ 3314286 w 3503306"/>
              <a:gd name="connsiteY5" fmla="*/ 3054130 h 3086678"/>
              <a:gd name="connsiteX6" fmla="*/ 2631478 w 3503306"/>
              <a:gd name="connsiteY6" fmla="*/ 2371643 h 3086678"/>
              <a:gd name="connsiteX7" fmla="*/ 2464258 w 3503306"/>
              <a:gd name="connsiteY7" fmla="*/ 2371662 h 3086678"/>
              <a:gd name="connsiteX8" fmla="*/ 1791403 w 3503306"/>
              <a:gd name="connsiteY8" fmla="*/ 3044403 h 3086678"/>
              <a:gd name="connsiteX9" fmla="*/ 1587239 w 3503306"/>
              <a:gd name="connsiteY9" fmla="*/ 3044384 h 3086678"/>
              <a:gd name="connsiteX10" fmla="*/ 1056698 w 3503306"/>
              <a:gd name="connsiteY10" fmla="*/ 2513866 h 3086678"/>
              <a:gd name="connsiteX11" fmla="*/ 1056700 w 3503306"/>
              <a:gd name="connsiteY11" fmla="*/ 2513866 h 3086678"/>
              <a:gd name="connsiteX12" fmla="*/ 1014415 w 3503306"/>
              <a:gd name="connsiteY12" fmla="*/ 2411778 h 3086678"/>
              <a:gd name="connsiteX13" fmla="*/ 1056702 w 3503306"/>
              <a:gd name="connsiteY13" fmla="*/ 2309690 h 3086678"/>
              <a:gd name="connsiteX14" fmla="*/ 3338186 w 3503306"/>
              <a:gd name="connsiteY14" fmla="*/ 28331 h 3086678"/>
              <a:gd name="connsiteX15" fmla="*/ 3415776 w 3503306"/>
              <a:gd name="connsiteY15" fmla="*/ 436 h 3086678"/>
              <a:gd name="connsiteX16" fmla="*/ 1684129 w 3503306"/>
              <a:gd name="connsiteY16" fmla="*/ 1 h 3086678"/>
              <a:gd name="connsiteX17" fmla="*/ 1786200 w 3503306"/>
              <a:gd name="connsiteY17" fmla="*/ 42285 h 3086678"/>
              <a:gd name="connsiteX18" fmla="*/ 2316755 w 3503306"/>
              <a:gd name="connsiteY18" fmla="*/ 572820 h 3086678"/>
              <a:gd name="connsiteX19" fmla="*/ 2316736 w 3503306"/>
              <a:gd name="connsiteY19" fmla="*/ 572820 h 3086678"/>
              <a:gd name="connsiteX20" fmla="*/ 2359029 w 3503306"/>
              <a:gd name="connsiteY20" fmla="*/ 674905 h 3086678"/>
              <a:gd name="connsiteX21" fmla="*/ 2316736 w 3503306"/>
              <a:gd name="connsiteY21" fmla="*/ 776989 h 3086678"/>
              <a:gd name="connsiteX22" fmla="*/ 35252 w 3503306"/>
              <a:gd name="connsiteY22" fmla="*/ 3058350 h 3086678"/>
              <a:gd name="connsiteX23" fmla="*/ 59159 w 3503306"/>
              <a:gd name="connsiteY23" fmla="*/ 32555 h 3086678"/>
              <a:gd name="connsiteX24" fmla="*/ 741975 w 3503306"/>
              <a:gd name="connsiteY24" fmla="*/ 715034 h 3086678"/>
              <a:gd name="connsiteX25" fmla="*/ 909180 w 3503306"/>
              <a:gd name="connsiteY25" fmla="*/ 715021 h 3086678"/>
              <a:gd name="connsiteX26" fmla="*/ 1582050 w 3503306"/>
              <a:gd name="connsiteY26" fmla="*/ 42276 h 3086678"/>
              <a:gd name="connsiteX27" fmla="*/ 1684129 w 3503306"/>
              <a:gd name="connsiteY27" fmla="*/ 1 h 3086678"/>
              <a:gd name="connsiteX0" fmla="*/ 3419554 w 3507084"/>
              <a:gd name="connsiteY0" fmla="*/ 436 h 3086678"/>
              <a:gd name="connsiteX1" fmla="*/ 3447382 w 3507084"/>
              <a:gd name="connsiteY1" fmla="*/ 7366 h 3086678"/>
              <a:gd name="connsiteX2" fmla="*/ 3507084 w 3507084"/>
              <a:gd name="connsiteY2" fmla="*/ 96725 h 3086678"/>
              <a:gd name="connsiteX3" fmla="*/ 3507084 w 3507084"/>
              <a:gd name="connsiteY3" fmla="*/ 2975808 h 3086678"/>
              <a:gd name="connsiteX4" fmla="*/ 3438735 w 3507084"/>
              <a:gd name="connsiteY4" fmla="*/ 3078104 h 3086678"/>
              <a:gd name="connsiteX5" fmla="*/ 3318064 w 3507084"/>
              <a:gd name="connsiteY5" fmla="*/ 3054130 h 3086678"/>
              <a:gd name="connsiteX6" fmla="*/ 2635256 w 3507084"/>
              <a:gd name="connsiteY6" fmla="*/ 2371643 h 3086678"/>
              <a:gd name="connsiteX7" fmla="*/ 2468036 w 3507084"/>
              <a:gd name="connsiteY7" fmla="*/ 2371662 h 3086678"/>
              <a:gd name="connsiteX8" fmla="*/ 1795181 w 3507084"/>
              <a:gd name="connsiteY8" fmla="*/ 3044403 h 3086678"/>
              <a:gd name="connsiteX9" fmla="*/ 1591017 w 3507084"/>
              <a:gd name="connsiteY9" fmla="*/ 3044384 h 3086678"/>
              <a:gd name="connsiteX10" fmla="*/ 1060476 w 3507084"/>
              <a:gd name="connsiteY10" fmla="*/ 2513866 h 3086678"/>
              <a:gd name="connsiteX11" fmla="*/ 1060478 w 3507084"/>
              <a:gd name="connsiteY11" fmla="*/ 2513866 h 3086678"/>
              <a:gd name="connsiteX12" fmla="*/ 1018193 w 3507084"/>
              <a:gd name="connsiteY12" fmla="*/ 2411778 h 3086678"/>
              <a:gd name="connsiteX13" fmla="*/ 1060480 w 3507084"/>
              <a:gd name="connsiteY13" fmla="*/ 2309690 h 3086678"/>
              <a:gd name="connsiteX14" fmla="*/ 3341964 w 3507084"/>
              <a:gd name="connsiteY14" fmla="*/ 28331 h 3086678"/>
              <a:gd name="connsiteX15" fmla="*/ 3419554 w 3507084"/>
              <a:gd name="connsiteY15" fmla="*/ 436 h 3086678"/>
              <a:gd name="connsiteX16" fmla="*/ 1687907 w 3507084"/>
              <a:gd name="connsiteY16" fmla="*/ 1 h 3086678"/>
              <a:gd name="connsiteX17" fmla="*/ 1789978 w 3507084"/>
              <a:gd name="connsiteY17" fmla="*/ 42285 h 3086678"/>
              <a:gd name="connsiteX18" fmla="*/ 2320533 w 3507084"/>
              <a:gd name="connsiteY18" fmla="*/ 572820 h 3086678"/>
              <a:gd name="connsiteX19" fmla="*/ 2320514 w 3507084"/>
              <a:gd name="connsiteY19" fmla="*/ 572820 h 3086678"/>
              <a:gd name="connsiteX20" fmla="*/ 2362807 w 3507084"/>
              <a:gd name="connsiteY20" fmla="*/ 674905 h 3086678"/>
              <a:gd name="connsiteX21" fmla="*/ 2320514 w 3507084"/>
              <a:gd name="connsiteY21" fmla="*/ 776989 h 3086678"/>
              <a:gd name="connsiteX22" fmla="*/ 39030 w 3507084"/>
              <a:gd name="connsiteY22" fmla="*/ 3058350 h 3086678"/>
              <a:gd name="connsiteX23" fmla="*/ 62937 w 3507084"/>
              <a:gd name="connsiteY23" fmla="*/ 32555 h 3086678"/>
              <a:gd name="connsiteX24" fmla="*/ 745753 w 3507084"/>
              <a:gd name="connsiteY24" fmla="*/ 715034 h 3086678"/>
              <a:gd name="connsiteX25" fmla="*/ 912958 w 3507084"/>
              <a:gd name="connsiteY25" fmla="*/ 715021 h 3086678"/>
              <a:gd name="connsiteX26" fmla="*/ 1585828 w 3507084"/>
              <a:gd name="connsiteY26" fmla="*/ 42276 h 3086678"/>
              <a:gd name="connsiteX27" fmla="*/ 1687907 w 3507084"/>
              <a:gd name="connsiteY27" fmla="*/ 1 h 3086678"/>
              <a:gd name="connsiteX0" fmla="*/ 3434546 w 3522076"/>
              <a:gd name="connsiteY0" fmla="*/ 436 h 3086678"/>
              <a:gd name="connsiteX1" fmla="*/ 3462374 w 3522076"/>
              <a:gd name="connsiteY1" fmla="*/ 7366 h 3086678"/>
              <a:gd name="connsiteX2" fmla="*/ 3522076 w 3522076"/>
              <a:gd name="connsiteY2" fmla="*/ 96725 h 3086678"/>
              <a:gd name="connsiteX3" fmla="*/ 3522076 w 3522076"/>
              <a:gd name="connsiteY3" fmla="*/ 2975808 h 3086678"/>
              <a:gd name="connsiteX4" fmla="*/ 3453727 w 3522076"/>
              <a:gd name="connsiteY4" fmla="*/ 3078104 h 3086678"/>
              <a:gd name="connsiteX5" fmla="*/ 3333056 w 3522076"/>
              <a:gd name="connsiteY5" fmla="*/ 3054130 h 3086678"/>
              <a:gd name="connsiteX6" fmla="*/ 2650248 w 3522076"/>
              <a:gd name="connsiteY6" fmla="*/ 2371643 h 3086678"/>
              <a:gd name="connsiteX7" fmla="*/ 2483028 w 3522076"/>
              <a:gd name="connsiteY7" fmla="*/ 2371662 h 3086678"/>
              <a:gd name="connsiteX8" fmla="*/ 1810173 w 3522076"/>
              <a:gd name="connsiteY8" fmla="*/ 3044403 h 3086678"/>
              <a:gd name="connsiteX9" fmla="*/ 1606009 w 3522076"/>
              <a:gd name="connsiteY9" fmla="*/ 3044384 h 3086678"/>
              <a:gd name="connsiteX10" fmla="*/ 1075468 w 3522076"/>
              <a:gd name="connsiteY10" fmla="*/ 2513866 h 3086678"/>
              <a:gd name="connsiteX11" fmla="*/ 1075470 w 3522076"/>
              <a:gd name="connsiteY11" fmla="*/ 2513866 h 3086678"/>
              <a:gd name="connsiteX12" fmla="*/ 1033185 w 3522076"/>
              <a:gd name="connsiteY12" fmla="*/ 2411778 h 3086678"/>
              <a:gd name="connsiteX13" fmla="*/ 1075472 w 3522076"/>
              <a:gd name="connsiteY13" fmla="*/ 2309690 h 3086678"/>
              <a:gd name="connsiteX14" fmla="*/ 3356956 w 3522076"/>
              <a:gd name="connsiteY14" fmla="*/ 28331 h 3086678"/>
              <a:gd name="connsiteX15" fmla="*/ 3434546 w 3522076"/>
              <a:gd name="connsiteY15" fmla="*/ 436 h 3086678"/>
              <a:gd name="connsiteX16" fmla="*/ 1702899 w 3522076"/>
              <a:gd name="connsiteY16" fmla="*/ 1 h 3086678"/>
              <a:gd name="connsiteX17" fmla="*/ 1804970 w 3522076"/>
              <a:gd name="connsiteY17" fmla="*/ 42285 h 3086678"/>
              <a:gd name="connsiteX18" fmla="*/ 2335525 w 3522076"/>
              <a:gd name="connsiteY18" fmla="*/ 572820 h 3086678"/>
              <a:gd name="connsiteX19" fmla="*/ 2335506 w 3522076"/>
              <a:gd name="connsiteY19" fmla="*/ 572820 h 3086678"/>
              <a:gd name="connsiteX20" fmla="*/ 2377799 w 3522076"/>
              <a:gd name="connsiteY20" fmla="*/ 674905 h 3086678"/>
              <a:gd name="connsiteX21" fmla="*/ 2335506 w 3522076"/>
              <a:gd name="connsiteY21" fmla="*/ 776989 h 3086678"/>
              <a:gd name="connsiteX22" fmla="*/ 54022 w 3522076"/>
              <a:gd name="connsiteY22" fmla="*/ 3058350 h 3086678"/>
              <a:gd name="connsiteX23" fmla="*/ 55754 w 3522076"/>
              <a:gd name="connsiteY23" fmla="*/ 28120 h 3086678"/>
              <a:gd name="connsiteX24" fmla="*/ 760745 w 3522076"/>
              <a:gd name="connsiteY24" fmla="*/ 715034 h 3086678"/>
              <a:gd name="connsiteX25" fmla="*/ 927950 w 3522076"/>
              <a:gd name="connsiteY25" fmla="*/ 715021 h 3086678"/>
              <a:gd name="connsiteX26" fmla="*/ 1600820 w 3522076"/>
              <a:gd name="connsiteY26" fmla="*/ 42276 h 3086678"/>
              <a:gd name="connsiteX27" fmla="*/ 1702899 w 3522076"/>
              <a:gd name="connsiteY27" fmla="*/ 1 h 3086678"/>
              <a:gd name="connsiteX0" fmla="*/ 3385339 w 3472869"/>
              <a:gd name="connsiteY0" fmla="*/ 436 h 3086678"/>
              <a:gd name="connsiteX1" fmla="*/ 3413167 w 3472869"/>
              <a:gd name="connsiteY1" fmla="*/ 7366 h 3086678"/>
              <a:gd name="connsiteX2" fmla="*/ 3472869 w 3472869"/>
              <a:gd name="connsiteY2" fmla="*/ 96725 h 3086678"/>
              <a:gd name="connsiteX3" fmla="*/ 3472869 w 3472869"/>
              <a:gd name="connsiteY3" fmla="*/ 2975808 h 3086678"/>
              <a:gd name="connsiteX4" fmla="*/ 3404520 w 3472869"/>
              <a:gd name="connsiteY4" fmla="*/ 3078104 h 3086678"/>
              <a:gd name="connsiteX5" fmla="*/ 3283849 w 3472869"/>
              <a:gd name="connsiteY5" fmla="*/ 3054130 h 3086678"/>
              <a:gd name="connsiteX6" fmla="*/ 2601041 w 3472869"/>
              <a:gd name="connsiteY6" fmla="*/ 2371643 h 3086678"/>
              <a:gd name="connsiteX7" fmla="*/ 2433821 w 3472869"/>
              <a:gd name="connsiteY7" fmla="*/ 2371662 h 3086678"/>
              <a:gd name="connsiteX8" fmla="*/ 1760966 w 3472869"/>
              <a:gd name="connsiteY8" fmla="*/ 3044403 h 3086678"/>
              <a:gd name="connsiteX9" fmla="*/ 1556802 w 3472869"/>
              <a:gd name="connsiteY9" fmla="*/ 3044384 h 3086678"/>
              <a:gd name="connsiteX10" fmla="*/ 1026261 w 3472869"/>
              <a:gd name="connsiteY10" fmla="*/ 2513866 h 3086678"/>
              <a:gd name="connsiteX11" fmla="*/ 1026263 w 3472869"/>
              <a:gd name="connsiteY11" fmla="*/ 2513866 h 3086678"/>
              <a:gd name="connsiteX12" fmla="*/ 983978 w 3472869"/>
              <a:gd name="connsiteY12" fmla="*/ 2411778 h 3086678"/>
              <a:gd name="connsiteX13" fmla="*/ 1026265 w 3472869"/>
              <a:gd name="connsiteY13" fmla="*/ 2309690 h 3086678"/>
              <a:gd name="connsiteX14" fmla="*/ 3307749 w 3472869"/>
              <a:gd name="connsiteY14" fmla="*/ 28331 h 3086678"/>
              <a:gd name="connsiteX15" fmla="*/ 3385339 w 3472869"/>
              <a:gd name="connsiteY15" fmla="*/ 436 h 3086678"/>
              <a:gd name="connsiteX16" fmla="*/ 1653692 w 3472869"/>
              <a:gd name="connsiteY16" fmla="*/ 1 h 3086678"/>
              <a:gd name="connsiteX17" fmla="*/ 1755763 w 3472869"/>
              <a:gd name="connsiteY17" fmla="*/ 42285 h 3086678"/>
              <a:gd name="connsiteX18" fmla="*/ 2286318 w 3472869"/>
              <a:gd name="connsiteY18" fmla="*/ 572820 h 3086678"/>
              <a:gd name="connsiteX19" fmla="*/ 2286299 w 3472869"/>
              <a:gd name="connsiteY19" fmla="*/ 572820 h 3086678"/>
              <a:gd name="connsiteX20" fmla="*/ 2328592 w 3472869"/>
              <a:gd name="connsiteY20" fmla="*/ 674905 h 3086678"/>
              <a:gd name="connsiteX21" fmla="*/ 2286299 w 3472869"/>
              <a:gd name="connsiteY21" fmla="*/ 776989 h 3086678"/>
              <a:gd name="connsiteX22" fmla="*/ 4815 w 3472869"/>
              <a:gd name="connsiteY22" fmla="*/ 3058350 h 3086678"/>
              <a:gd name="connsiteX23" fmla="*/ 6547 w 3472869"/>
              <a:gd name="connsiteY23" fmla="*/ 28120 h 3086678"/>
              <a:gd name="connsiteX24" fmla="*/ 711538 w 3472869"/>
              <a:gd name="connsiteY24" fmla="*/ 715034 h 3086678"/>
              <a:gd name="connsiteX25" fmla="*/ 878743 w 3472869"/>
              <a:gd name="connsiteY25" fmla="*/ 715021 h 3086678"/>
              <a:gd name="connsiteX26" fmla="*/ 1551613 w 3472869"/>
              <a:gd name="connsiteY26" fmla="*/ 42276 h 3086678"/>
              <a:gd name="connsiteX27" fmla="*/ 1653692 w 3472869"/>
              <a:gd name="connsiteY27" fmla="*/ 1 h 3086678"/>
              <a:gd name="connsiteX0" fmla="*/ 3380978 w 3468508"/>
              <a:gd name="connsiteY0" fmla="*/ 436 h 3086678"/>
              <a:gd name="connsiteX1" fmla="*/ 3408806 w 3468508"/>
              <a:gd name="connsiteY1" fmla="*/ 7366 h 3086678"/>
              <a:gd name="connsiteX2" fmla="*/ 3468508 w 3468508"/>
              <a:gd name="connsiteY2" fmla="*/ 96725 h 3086678"/>
              <a:gd name="connsiteX3" fmla="*/ 3468508 w 3468508"/>
              <a:gd name="connsiteY3" fmla="*/ 2975808 h 3086678"/>
              <a:gd name="connsiteX4" fmla="*/ 3400159 w 3468508"/>
              <a:gd name="connsiteY4" fmla="*/ 3078104 h 3086678"/>
              <a:gd name="connsiteX5" fmla="*/ 3279488 w 3468508"/>
              <a:gd name="connsiteY5" fmla="*/ 3054130 h 3086678"/>
              <a:gd name="connsiteX6" fmla="*/ 2596680 w 3468508"/>
              <a:gd name="connsiteY6" fmla="*/ 2371643 h 3086678"/>
              <a:gd name="connsiteX7" fmla="*/ 2429460 w 3468508"/>
              <a:gd name="connsiteY7" fmla="*/ 2371662 h 3086678"/>
              <a:gd name="connsiteX8" fmla="*/ 1756605 w 3468508"/>
              <a:gd name="connsiteY8" fmla="*/ 3044403 h 3086678"/>
              <a:gd name="connsiteX9" fmla="*/ 1552441 w 3468508"/>
              <a:gd name="connsiteY9" fmla="*/ 3044384 h 3086678"/>
              <a:gd name="connsiteX10" fmla="*/ 1021900 w 3468508"/>
              <a:gd name="connsiteY10" fmla="*/ 2513866 h 3086678"/>
              <a:gd name="connsiteX11" fmla="*/ 1021902 w 3468508"/>
              <a:gd name="connsiteY11" fmla="*/ 2513866 h 3086678"/>
              <a:gd name="connsiteX12" fmla="*/ 979617 w 3468508"/>
              <a:gd name="connsiteY12" fmla="*/ 2411778 h 3086678"/>
              <a:gd name="connsiteX13" fmla="*/ 1021904 w 3468508"/>
              <a:gd name="connsiteY13" fmla="*/ 2309690 h 3086678"/>
              <a:gd name="connsiteX14" fmla="*/ 3303388 w 3468508"/>
              <a:gd name="connsiteY14" fmla="*/ 28331 h 3086678"/>
              <a:gd name="connsiteX15" fmla="*/ 3380978 w 3468508"/>
              <a:gd name="connsiteY15" fmla="*/ 436 h 3086678"/>
              <a:gd name="connsiteX16" fmla="*/ 1649331 w 3468508"/>
              <a:gd name="connsiteY16" fmla="*/ 1 h 3086678"/>
              <a:gd name="connsiteX17" fmla="*/ 1751402 w 3468508"/>
              <a:gd name="connsiteY17" fmla="*/ 42285 h 3086678"/>
              <a:gd name="connsiteX18" fmla="*/ 2281957 w 3468508"/>
              <a:gd name="connsiteY18" fmla="*/ 572820 h 3086678"/>
              <a:gd name="connsiteX19" fmla="*/ 2281938 w 3468508"/>
              <a:gd name="connsiteY19" fmla="*/ 572820 h 3086678"/>
              <a:gd name="connsiteX20" fmla="*/ 2324231 w 3468508"/>
              <a:gd name="connsiteY20" fmla="*/ 674905 h 3086678"/>
              <a:gd name="connsiteX21" fmla="*/ 2281938 w 3468508"/>
              <a:gd name="connsiteY21" fmla="*/ 776989 h 3086678"/>
              <a:gd name="connsiteX22" fmla="*/ 454 w 3468508"/>
              <a:gd name="connsiteY22" fmla="*/ 3058350 h 3086678"/>
              <a:gd name="connsiteX23" fmla="*/ 239207 w 3468508"/>
              <a:gd name="connsiteY23" fmla="*/ 254837 h 3086678"/>
              <a:gd name="connsiteX24" fmla="*/ 707177 w 3468508"/>
              <a:gd name="connsiteY24" fmla="*/ 715034 h 3086678"/>
              <a:gd name="connsiteX25" fmla="*/ 874382 w 3468508"/>
              <a:gd name="connsiteY25" fmla="*/ 715021 h 3086678"/>
              <a:gd name="connsiteX26" fmla="*/ 1547252 w 3468508"/>
              <a:gd name="connsiteY26" fmla="*/ 42276 h 3086678"/>
              <a:gd name="connsiteX27" fmla="*/ 1649331 w 3468508"/>
              <a:gd name="connsiteY27" fmla="*/ 1 h 3086678"/>
              <a:gd name="connsiteX0" fmla="*/ 3144443 w 3231973"/>
              <a:gd name="connsiteY0" fmla="*/ 436 h 3086678"/>
              <a:gd name="connsiteX1" fmla="*/ 3172271 w 3231973"/>
              <a:gd name="connsiteY1" fmla="*/ 7366 h 3086678"/>
              <a:gd name="connsiteX2" fmla="*/ 3231973 w 3231973"/>
              <a:gd name="connsiteY2" fmla="*/ 96725 h 3086678"/>
              <a:gd name="connsiteX3" fmla="*/ 3231973 w 3231973"/>
              <a:gd name="connsiteY3" fmla="*/ 2975808 h 3086678"/>
              <a:gd name="connsiteX4" fmla="*/ 3163624 w 3231973"/>
              <a:gd name="connsiteY4" fmla="*/ 3078104 h 3086678"/>
              <a:gd name="connsiteX5" fmla="*/ 3042953 w 3231973"/>
              <a:gd name="connsiteY5" fmla="*/ 3054130 h 3086678"/>
              <a:gd name="connsiteX6" fmla="*/ 2360145 w 3231973"/>
              <a:gd name="connsiteY6" fmla="*/ 2371643 h 3086678"/>
              <a:gd name="connsiteX7" fmla="*/ 2192925 w 3231973"/>
              <a:gd name="connsiteY7" fmla="*/ 2371662 h 3086678"/>
              <a:gd name="connsiteX8" fmla="*/ 1520070 w 3231973"/>
              <a:gd name="connsiteY8" fmla="*/ 3044403 h 3086678"/>
              <a:gd name="connsiteX9" fmla="*/ 1315906 w 3231973"/>
              <a:gd name="connsiteY9" fmla="*/ 3044384 h 3086678"/>
              <a:gd name="connsiteX10" fmla="*/ 785365 w 3231973"/>
              <a:gd name="connsiteY10" fmla="*/ 2513866 h 3086678"/>
              <a:gd name="connsiteX11" fmla="*/ 785367 w 3231973"/>
              <a:gd name="connsiteY11" fmla="*/ 2513866 h 3086678"/>
              <a:gd name="connsiteX12" fmla="*/ 743082 w 3231973"/>
              <a:gd name="connsiteY12" fmla="*/ 2411778 h 3086678"/>
              <a:gd name="connsiteX13" fmla="*/ 785369 w 3231973"/>
              <a:gd name="connsiteY13" fmla="*/ 2309690 h 3086678"/>
              <a:gd name="connsiteX14" fmla="*/ 3066853 w 3231973"/>
              <a:gd name="connsiteY14" fmla="*/ 28331 h 3086678"/>
              <a:gd name="connsiteX15" fmla="*/ 3144443 w 3231973"/>
              <a:gd name="connsiteY15" fmla="*/ 436 h 3086678"/>
              <a:gd name="connsiteX16" fmla="*/ 1412796 w 3231973"/>
              <a:gd name="connsiteY16" fmla="*/ 1 h 3086678"/>
              <a:gd name="connsiteX17" fmla="*/ 1514867 w 3231973"/>
              <a:gd name="connsiteY17" fmla="*/ 42285 h 3086678"/>
              <a:gd name="connsiteX18" fmla="*/ 2045422 w 3231973"/>
              <a:gd name="connsiteY18" fmla="*/ 572820 h 3086678"/>
              <a:gd name="connsiteX19" fmla="*/ 2045403 w 3231973"/>
              <a:gd name="connsiteY19" fmla="*/ 572820 h 3086678"/>
              <a:gd name="connsiteX20" fmla="*/ 2087696 w 3231973"/>
              <a:gd name="connsiteY20" fmla="*/ 674905 h 3086678"/>
              <a:gd name="connsiteX21" fmla="*/ 2045403 w 3231973"/>
              <a:gd name="connsiteY21" fmla="*/ 776989 h 3086678"/>
              <a:gd name="connsiteX22" fmla="*/ 6093 w 3231973"/>
              <a:gd name="connsiteY22" fmla="*/ 2816176 h 3086678"/>
              <a:gd name="connsiteX23" fmla="*/ 2672 w 3231973"/>
              <a:gd name="connsiteY23" fmla="*/ 254837 h 3086678"/>
              <a:gd name="connsiteX24" fmla="*/ 470642 w 3231973"/>
              <a:gd name="connsiteY24" fmla="*/ 715034 h 3086678"/>
              <a:gd name="connsiteX25" fmla="*/ 637847 w 3231973"/>
              <a:gd name="connsiteY25" fmla="*/ 715021 h 3086678"/>
              <a:gd name="connsiteX26" fmla="*/ 1310717 w 3231973"/>
              <a:gd name="connsiteY26" fmla="*/ 42276 h 3086678"/>
              <a:gd name="connsiteX27" fmla="*/ 1412796 w 3231973"/>
              <a:gd name="connsiteY27" fmla="*/ 1 h 3086678"/>
              <a:gd name="connsiteX0" fmla="*/ 3141771 w 3229301"/>
              <a:gd name="connsiteY0" fmla="*/ 436 h 3086678"/>
              <a:gd name="connsiteX1" fmla="*/ 3169599 w 3229301"/>
              <a:gd name="connsiteY1" fmla="*/ 7366 h 3086678"/>
              <a:gd name="connsiteX2" fmla="*/ 3229301 w 3229301"/>
              <a:gd name="connsiteY2" fmla="*/ 96725 h 3086678"/>
              <a:gd name="connsiteX3" fmla="*/ 3229301 w 3229301"/>
              <a:gd name="connsiteY3" fmla="*/ 2975808 h 3086678"/>
              <a:gd name="connsiteX4" fmla="*/ 3160952 w 3229301"/>
              <a:gd name="connsiteY4" fmla="*/ 3078104 h 3086678"/>
              <a:gd name="connsiteX5" fmla="*/ 3040281 w 3229301"/>
              <a:gd name="connsiteY5" fmla="*/ 3054130 h 3086678"/>
              <a:gd name="connsiteX6" fmla="*/ 2357473 w 3229301"/>
              <a:gd name="connsiteY6" fmla="*/ 2371643 h 3086678"/>
              <a:gd name="connsiteX7" fmla="*/ 2190253 w 3229301"/>
              <a:gd name="connsiteY7" fmla="*/ 2371662 h 3086678"/>
              <a:gd name="connsiteX8" fmla="*/ 1517398 w 3229301"/>
              <a:gd name="connsiteY8" fmla="*/ 3044403 h 3086678"/>
              <a:gd name="connsiteX9" fmla="*/ 1313234 w 3229301"/>
              <a:gd name="connsiteY9" fmla="*/ 3044384 h 3086678"/>
              <a:gd name="connsiteX10" fmla="*/ 782693 w 3229301"/>
              <a:gd name="connsiteY10" fmla="*/ 2513866 h 3086678"/>
              <a:gd name="connsiteX11" fmla="*/ 782695 w 3229301"/>
              <a:gd name="connsiteY11" fmla="*/ 2513866 h 3086678"/>
              <a:gd name="connsiteX12" fmla="*/ 740410 w 3229301"/>
              <a:gd name="connsiteY12" fmla="*/ 2411778 h 3086678"/>
              <a:gd name="connsiteX13" fmla="*/ 782697 w 3229301"/>
              <a:gd name="connsiteY13" fmla="*/ 2309690 h 3086678"/>
              <a:gd name="connsiteX14" fmla="*/ 3064181 w 3229301"/>
              <a:gd name="connsiteY14" fmla="*/ 28331 h 3086678"/>
              <a:gd name="connsiteX15" fmla="*/ 3141771 w 3229301"/>
              <a:gd name="connsiteY15" fmla="*/ 436 h 3086678"/>
              <a:gd name="connsiteX16" fmla="*/ 1410124 w 3229301"/>
              <a:gd name="connsiteY16" fmla="*/ 1 h 3086678"/>
              <a:gd name="connsiteX17" fmla="*/ 1512195 w 3229301"/>
              <a:gd name="connsiteY17" fmla="*/ 42285 h 3086678"/>
              <a:gd name="connsiteX18" fmla="*/ 2042750 w 3229301"/>
              <a:gd name="connsiteY18" fmla="*/ 572820 h 3086678"/>
              <a:gd name="connsiteX19" fmla="*/ 2042731 w 3229301"/>
              <a:gd name="connsiteY19" fmla="*/ 572820 h 3086678"/>
              <a:gd name="connsiteX20" fmla="*/ 2085024 w 3229301"/>
              <a:gd name="connsiteY20" fmla="*/ 674905 h 3086678"/>
              <a:gd name="connsiteX21" fmla="*/ 2042731 w 3229301"/>
              <a:gd name="connsiteY21" fmla="*/ 776989 h 3086678"/>
              <a:gd name="connsiteX22" fmla="*/ 3421 w 3229301"/>
              <a:gd name="connsiteY22" fmla="*/ 2816176 h 3086678"/>
              <a:gd name="connsiteX23" fmla="*/ 0 w 3229301"/>
              <a:gd name="connsiteY23" fmla="*/ 254837 h 3086678"/>
              <a:gd name="connsiteX24" fmla="*/ 467970 w 3229301"/>
              <a:gd name="connsiteY24" fmla="*/ 715034 h 3086678"/>
              <a:gd name="connsiteX25" fmla="*/ 635175 w 3229301"/>
              <a:gd name="connsiteY25" fmla="*/ 715021 h 3086678"/>
              <a:gd name="connsiteX26" fmla="*/ 1308045 w 3229301"/>
              <a:gd name="connsiteY26" fmla="*/ 42276 h 3086678"/>
              <a:gd name="connsiteX27" fmla="*/ 1410124 w 3229301"/>
              <a:gd name="connsiteY27" fmla="*/ 1 h 30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29301" h="3086678">
                <a:moveTo>
                  <a:pt x="3141771" y="436"/>
                </a:moveTo>
                <a:lnTo>
                  <a:pt x="3169599" y="7366"/>
                </a:lnTo>
                <a:cubicBezTo>
                  <a:pt x="3205742" y="22338"/>
                  <a:pt x="3229301" y="57604"/>
                  <a:pt x="3229301" y="96725"/>
                </a:cubicBezTo>
                <a:lnTo>
                  <a:pt x="3229301" y="2975808"/>
                </a:lnTo>
                <a:cubicBezTo>
                  <a:pt x="3229301" y="3020580"/>
                  <a:pt x="3202317" y="3060961"/>
                  <a:pt x="3160952" y="3078104"/>
                </a:cubicBezTo>
                <a:cubicBezTo>
                  <a:pt x="3119587" y="3095249"/>
                  <a:pt x="3071958" y="3085787"/>
                  <a:pt x="3040281" y="3054130"/>
                </a:cubicBezTo>
                <a:lnTo>
                  <a:pt x="2357473" y="2371643"/>
                </a:lnTo>
                <a:cubicBezTo>
                  <a:pt x="2311283" y="2325491"/>
                  <a:pt x="2236444" y="2325491"/>
                  <a:pt x="2190253" y="2371662"/>
                </a:cubicBezTo>
                <a:lnTo>
                  <a:pt x="1517398" y="3044403"/>
                </a:lnTo>
                <a:cubicBezTo>
                  <a:pt x="1461011" y="3100774"/>
                  <a:pt x="1369610" y="3100774"/>
                  <a:pt x="1313234" y="3044384"/>
                </a:cubicBezTo>
                <a:lnTo>
                  <a:pt x="782693" y="2513866"/>
                </a:lnTo>
                <a:lnTo>
                  <a:pt x="782695" y="2513866"/>
                </a:lnTo>
                <a:cubicBezTo>
                  <a:pt x="755620" y="2486788"/>
                  <a:pt x="740410" y="2450059"/>
                  <a:pt x="740410" y="2411778"/>
                </a:cubicBezTo>
                <a:cubicBezTo>
                  <a:pt x="740410" y="2373479"/>
                  <a:pt x="755622" y="2336769"/>
                  <a:pt x="782697" y="2309690"/>
                </a:cubicBezTo>
                <a:lnTo>
                  <a:pt x="3064181" y="28331"/>
                </a:lnTo>
                <a:cubicBezTo>
                  <a:pt x="3084930" y="7585"/>
                  <a:pt x="3113523" y="-2256"/>
                  <a:pt x="3141771" y="436"/>
                </a:cubicBezTo>
                <a:close/>
                <a:moveTo>
                  <a:pt x="1410124" y="1"/>
                </a:moveTo>
                <a:cubicBezTo>
                  <a:pt x="1447068" y="3"/>
                  <a:pt x="1484011" y="14098"/>
                  <a:pt x="1512195" y="42285"/>
                </a:cubicBezTo>
                <a:lnTo>
                  <a:pt x="2042750" y="572820"/>
                </a:lnTo>
                <a:lnTo>
                  <a:pt x="2042731" y="572820"/>
                </a:lnTo>
                <a:cubicBezTo>
                  <a:pt x="2069810" y="599895"/>
                  <a:pt x="2085024" y="636616"/>
                  <a:pt x="2085024" y="674905"/>
                </a:cubicBezTo>
                <a:cubicBezTo>
                  <a:pt x="2085024" y="713195"/>
                  <a:pt x="2069810" y="749914"/>
                  <a:pt x="2042731" y="776989"/>
                </a:cubicBezTo>
                <a:lnTo>
                  <a:pt x="3421" y="2816176"/>
                </a:lnTo>
                <a:cubicBezTo>
                  <a:pt x="6301" y="2238996"/>
                  <a:pt x="1963" y="716354"/>
                  <a:pt x="0" y="254837"/>
                </a:cubicBezTo>
                <a:lnTo>
                  <a:pt x="467970" y="715034"/>
                </a:lnTo>
                <a:cubicBezTo>
                  <a:pt x="514151" y="761192"/>
                  <a:pt x="589002" y="761187"/>
                  <a:pt x="635175" y="715021"/>
                </a:cubicBezTo>
                <a:lnTo>
                  <a:pt x="1308045" y="42276"/>
                </a:lnTo>
                <a:cubicBezTo>
                  <a:pt x="1336235" y="14091"/>
                  <a:pt x="1373181" y="-1"/>
                  <a:pt x="1410124" y="1"/>
                </a:cubicBezTo>
                <a:close/>
              </a:path>
            </a:pathLst>
          </a:custGeom>
          <a:solidFill>
            <a:schemeClr val="bg2">
              <a:lumMod val="85000"/>
            </a:schemeClr>
          </a:solidFill>
        </p:spPr>
        <p:txBody>
          <a:bodyPr wrap="square" anchor="ctr">
            <a:noAutofit/>
          </a:bodyPr>
          <a:lstStyle>
            <a:lvl1pPr marL="0" indent="0" algn="ctr">
              <a:buNone/>
              <a:defRPr/>
            </a:lvl1pPr>
          </a:lstStyle>
          <a:p>
            <a:endParaRPr lang="en-GB" dirty="0"/>
          </a:p>
        </p:txBody>
      </p:sp>
      <p:sp>
        <p:nvSpPr>
          <p:cNvPr id="7" name="Content Placeholder 7">
            <a:extLst>
              <a:ext uri="{FF2B5EF4-FFF2-40B4-BE49-F238E27FC236}">
                <a16:creationId xmlns:a16="http://schemas.microsoft.com/office/drawing/2014/main" id="{41A86423-6830-C742-FBEF-2F933EFEE7E4}"/>
              </a:ext>
            </a:extLst>
          </p:cNvPr>
          <p:cNvSpPr>
            <a:spLocks noGrp="1"/>
          </p:cNvSpPr>
          <p:nvPr>
            <p:ph sz="quarter" idx="42"/>
          </p:nvPr>
        </p:nvSpPr>
        <p:spPr>
          <a:xfrm>
            <a:off x="4941094" y="1790701"/>
            <a:ext cx="3713956" cy="201453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itle 1">
            <a:extLst>
              <a:ext uri="{FF2B5EF4-FFF2-40B4-BE49-F238E27FC236}">
                <a16:creationId xmlns:a16="http://schemas.microsoft.com/office/drawing/2014/main" id="{C75028BB-E30F-0CC0-1AF3-7CE9BAD04BB9}"/>
              </a:ext>
            </a:extLst>
          </p:cNvPr>
          <p:cNvSpPr>
            <a:spLocks noGrp="1"/>
          </p:cNvSpPr>
          <p:nvPr>
            <p:ph type="title" hasCustomPrompt="1"/>
          </p:nvPr>
        </p:nvSpPr>
        <p:spPr>
          <a:xfrm>
            <a:off x="4941093" y="1304131"/>
            <a:ext cx="3713956" cy="440075"/>
          </a:xfrm>
        </p:spPr>
        <p:txBody>
          <a:bodyPr tIns="0" rIns="0" anchor="t">
            <a:noAutofit/>
          </a:bodyPr>
          <a:lstStyle>
            <a:lvl1pPr>
              <a:defRPr sz="2800"/>
            </a:lvl1pPr>
          </a:lstStyle>
          <a:p>
            <a:r>
              <a:rPr lang="en-GB" dirty="0"/>
              <a:t>Slide title</a:t>
            </a:r>
          </a:p>
        </p:txBody>
      </p:sp>
      <p:sp>
        <p:nvSpPr>
          <p:cNvPr id="5" name="Text Placeholder 29">
            <a:extLst>
              <a:ext uri="{FF2B5EF4-FFF2-40B4-BE49-F238E27FC236}">
                <a16:creationId xmlns:a16="http://schemas.microsoft.com/office/drawing/2014/main" id="{559C0093-F213-9BF8-EA85-5EB53B24E230}"/>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946862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x7">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D446CBF-2CA8-A3D4-4B64-685D3E8AB1AA}"/>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269058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E7428AC4-D9E9-95B1-E569-3BF10F6703AC}"/>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6" name="Title 1">
            <a:extLst>
              <a:ext uri="{FF2B5EF4-FFF2-40B4-BE49-F238E27FC236}">
                <a16:creationId xmlns:a16="http://schemas.microsoft.com/office/drawing/2014/main" id="{FFA9EAC8-864F-90F8-04D8-3ACA8BACE0CB}"/>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Agenda</a:t>
            </a:r>
          </a:p>
        </p:txBody>
      </p:sp>
      <p:sp>
        <p:nvSpPr>
          <p:cNvPr id="2" name="Text Placeholder 8">
            <a:extLst>
              <a:ext uri="{FF2B5EF4-FFF2-40B4-BE49-F238E27FC236}">
                <a16:creationId xmlns:a16="http://schemas.microsoft.com/office/drawing/2014/main" id="{55500D5F-FA8E-DF7B-AAD6-B62B5CEFC730}"/>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Day, Date, Details (Optional)</a:t>
            </a:r>
          </a:p>
        </p:txBody>
      </p:sp>
      <p:sp>
        <p:nvSpPr>
          <p:cNvPr id="7" name="Text Placeholder 8">
            <a:extLst>
              <a:ext uri="{FF2B5EF4-FFF2-40B4-BE49-F238E27FC236}">
                <a16:creationId xmlns:a16="http://schemas.microsoft.com/office/drawing/2014/main" id="{E44A165A-1DAF-C14F-2A84-19DCD747B929}"/>
              </a:ext>
            </a:extLst>
          </p:cNvPr>
          <p:cNvSpPr>
            <a:spLocks noGrp="1"/>
          </p:cNvSpPr>
          <p:nvPr>
            <p:ph type="body" idx="20" hasCustomPrompt="1"/>
          </p:nvPr>
        </p:nvSpPr>
        <p:spPr>
          <a:xfrm>
            <a:off x="1524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9" name="Text Placeholder 29">
            <a:extLst>
              <a:ext uri="{FF2B5EF4-FFF2-40B4-BE49-F238E27FC236}">
                <a16:creationId xmlns:a16="http://schemas.microsoft.com/office/drawing/2014/main" id="{4AA84208-817C-15F8-23CC-AC3087E07D39}"/>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5" name="Text Placeholder 8">
            <a:extLst>
              <a:ext uri="{FF2B5EF4-FFF2-40B4-BE49-F238E27FC236}">
                <a16:creationId xmlns:a16="http://schemas.microsoft.com/office/drawing/2014/main" id="{BB790210-17B6-245C-A5CD-8EF73A009735}"/>
              </a:ext>
            </a:extLst>
          </p:cNvPr>
          <p:cNvSpPr>
            <a:spLocks noGrp="1"/>
          </p:cNvSpPr>
          <p:nvPr>
            <p:ph type="body" idx="28" hasCustomPrompt="1"/>
          </p:nvPr>
        </p:nvSpPr>
        <p:spPr>
          <a:xfrm>
            <a:off x="1524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6" name="Text Placeholder 29">
            <a:extLst>
              <a:ext uri="{FF2B5EF4-FFF2-40B4-BE49-F238E27FC236}">
                <a16:creationId xmlns:a16="http://schemas.microsoft.com/office/drawing/2014/main" id="{0C147DE5-85E6-4C15-86A2-8776AF4E5A73}"/>
              </a:ext>
            </a:extLst>
          </p:cNvPr>
          <p:cNvSpPr>
            <a:spLocks noGrp="1"/>
          </p:cNvSpPr>
          <p:nvPr>
            <p:ph type="body" sz="quarter" idx="29"/>
          </p:nvPr>
        </p:nvSpPr>
        <p:spPr>
          <a:xfrm>
            <a:off x="494507" y="1338752"/>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7" name="Text Placeholder 8">
            <a:extLst>
              <a:ext uri="{FF2B5EF4-FFF2-40B4-BE49-F238E27FC236}">
                <a16:creationId xmlns:a16="http://schemas.microsoft.com/office/drawing/2014/main" id="{C51566B2-3437-2F37-8E60-638030791059}"/>
              </a:ext>
            </a:extLst>
          </p:cNvPr>
          <p:cNvSpPr>
            <a:spLocks noGrp="1"/>
          </p:cNvSpPr>
          <p:nvPr>
            <p:ph type="body" idx="30" hasCustomPrompt="1"/>
          </p:nvPr>
        </p:nvSpPr>
        <p:spPr>
          <a:xfrm>
            <a:off x="1524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8" name="Text Placeholder 29">
            <a:extLst>
              <a:ext uri="{FF2B5EF4-FFF2-40B4-BE49-F238E27FC236}">
                <a16:creationId xmlns:a16="http://schemas.microsoft.com/office/drawing/2014/main" id="{683077F4-72E0-5429-1B7B-CF2470083FE2}"/>
              </a:ext>
            </a:extLst>
          </p:cNvPr>
          <p:cNvSpPr>
            <a:spLocks noGrp="1"/>
          </p:cNvSpPr>
          <p:nvPr>
            <p:ph type="body" sz="quarter" idx="31"/>
          </p:nvPr>
        </p:nvSpPr>
        <p:spPr>
          <a:xfrm>
            <a:off x="494507" y="1775191"/>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3" name="Text Placeholder 8">
            <a:extLst>
              <a:ext uri="{FF2B5EF4-FFF2-40B4-BE49-F238E27FC236}">
                <a16:creationId xmlns:a16="http://schemas.microsoft.com/office/drawing/2014/main" id="{8320F76B-91D7-762D-9825-4BC4957AECFA}"/>
              </a:ext>
            </a:extLst>
          </p:cNvPr>
          <p:cNvSpPr>
            <a:spLocks noGrp="1"/>
          </p:cNvSpPr>
          <p:nvPr>
            <p:ph type="body" idx="32" hasCustomPrompt="1"/>
          </p:nvPr>
        </p:nvSpPr>
        <p:spPr>
          <a:xfrm>
            <a:off x="1524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4" name="Text Placeholder 29">
            <a:extLst>
              <a:ext uri="{FF2B5EF4-FFF2-40B4-BE49-F238E27FC236}">
                <a16:creationId xmlns:a16="http://schemas.microsoft.com/office/drawing/2014/main" id="{4BFA4453-7944-B03C-91BC-31B4284B9F13}"/>
              </a:ext>
            </a:extLst>
          </p:cNvPr>
          <p:cNvSpPr>
            <a:spLocks noGrp="1"/>
          </p:cNvSpPr>
          <p:nvPr>
            <p:ph type="body" sz="quarter" idx="33"/>
          </p:nvPr>
        </p:nvSpPr>
        <p:spPr>
          <a:xfrm>
            <a:off x="494507" y="2211630"/>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5" name="Text Placeholder 8">
            <a:extLst>
              <a:ext uri="{FF2B5EF4-FFF2-40B4-BE49-F238E27FC236}">
                <a16:creationId xmlns:a16="http://schemas.microsoft.com/office/drawing/2014/main" id="{7D232581-7A53-1E23-4613-3A1FC6FE7E63}"/>
              </a:ext>
            </a:extLst>
          </p:cNvPr>
          <p:cNvSpPr>
            <a:spLocks noGrp="1"/>
          </p:cNvSpPr>
          <p:nvPr>
            <p:ph type="body" idx="34" hasCustomPrompt="1"/>
          </p:nvPr>
        </p:nvSpPr>
        <p:spPr>
          <a:xfrm>
            <a:off x="1524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6" name="Text Placeholder 29">
            <a:extLst>
              <a:ext uri="{FF2B5EF4-FFF2-40B4-BE49-F238E27FC236}">
                <a16:creationId xmlns:a16="http://schemas.microsoft.com/office/drawing/2014/main" id="{67A33404-7BEF-4455-0B6E-F760C6CAD0C0}"/>
              </a:ext>
            </a:extLst>
          </p:cNvPr>
          <p:cNvSpPr>
            <a:spLocks noGrp="1"/>
          </p:cNvSpPr>
          <p:nvPr>
            <p:ph type="body" sz="quarter" idx="35"/>
          </p:nvPr>
        </p:nvSpPr>
        <p:spPr>
          <a:xfrm>
            <a:off x="494507" y="2648069"/>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7" name="Text Placeholder 8">
            <a:extLst>
              <a:ext uri="{FF2B5EF4-FFF2-40B4-BE49-F238E27FC236}">
                <a16:creationId xmlns:a16="http://schemas.microsoft.com/office/drawing/2014/main" id="{4AAD78D2-8EFE-027B-1472-7089F18D5D0E}"/>
              </a:ext>
            </a:extLst>
          </p:cNvPr>
          <p:cNvSpPr>
            <a:spLocks noGrp="1"/>
          </p:cNvSpPr>
          <p:nvPr>
            <p:ph type="body" idx="36" hasCustomPrompt="1"/>
          </p:nvPr>
        </p:nvSpPr>
        <p:spPr>
          <a:xfrm>
            <a:off x="1524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8" name="Text Placeholder 29">
            <a:extLst>
              <a:ext uri="{FF2B5EF4-FFF2-40B4-BE49-F238E27FC236}">
                <a16:creationId xmlns:a16="http://schemas.microsoft.com/office/drawing/2014/main" id="{EADE792D-2FCE-DF2C-171D-0F46CA840BA2}"/>
              </a:ext>
            </a:extLst>
          </p:cNvPr>
          <p:cNvSpPr>
            <a:spLocks noGrp="1"/>
          </p:cNvSpPr>
          <p:nvPr>
            <p:ph type="body" sz="quarter" idx="37"/>
          </p:nvPr>
        </p:nvSpPr>
        <p:spPr>
          <a:xfrm>
            <a:off x="494507" y="3084508"/>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9" name="Text Placeholder 8">
            <a:extLst>
              <a:ext uri="{FF2B5EF4-FFF2-40B4-BE49-F238E27FC236}">
                <a16:creationId xmlns:a16="http://schemas.microsoft.com/office/drawing/2014/main" id="{76B181F7-3A59-0126-587C-63AE01603CEE}"/>
              </a:ext>
            </a:extLst>
          </p:cNvPr>
          <p:cNvSpPr>
            <a:spLocks noGrp="1"/>
          </p:cNvSpPr>
          <p:nvPr>
            <p:ph type="body" idx="38" hasCustomPrompt="1"/>
          </p:nvPr>
        </p:nvSpPr>
        <p:spPr>
          <a:xfrm>
            <a:off x="1524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0" name="Text Placeholder 29">
            <a:extLst>
              <a:ext uri="{FF2B5EF4-FFF2-40B4-BE49-F238E27FC236}">
                <a16:creationId xmlns:a16="http://schemas.microsoft.com/office/drawing/2014/main" id="{104CA508-7F72-F75B-20F8-83E1F82D07A3}"/>
              </a:ext>
            </a:extLst>
          </p:cNvPr>
          <p:cNvSpPr>
            <a:spLocks noGrp="1"/>
          </p:cNvSpPr>
          <p:nvPr>
            <p:ph type="body" sz="quarter" idx="39"/>
          </p:nvPr>
        </p:nvSpPr>
        <p:spPr>
          <a:xfrm>
            <a:off x="494507" y="352094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0" name="Text Placeholder 29">
            <a:extLst>
              <a:ext uri="{FF2B5EF4-FFF2-40B4-BE49-F238E27FC236}">
                <a16:creationId xmlns:a16="http://schemas.microsoft.com/office/drawing/2014/main" id="{49979519-8E2C-90B8-AE3B-CF7F2AC3E5CD}"/>
              </a:ext>
            </a:extLst>
          </p:cNvPr>
          <p:cNvSpPr>
            <a:spLocks noGrp="1"/>
          </p:cNvSpPr>
          <p:nvPr>
            <p:ph type="body" sz="quarter" idx="40"/>
          </p:nvPr>
        </p:nvSpPr>
        <p:spPr>
          <a:xfrm>
            <a:off x="494507" y="395738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Tree>
    <p:extLst>
      <p:ext uri="{BB962C8B-B14F-4D97-AF65-F5344CB8AC3E}">
        <p14:creationId xmlns:p14="http://schemas.microsoft.com/office/powerpoint/2010/main" val="13626797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 Split - White / Blue">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0885C9B2-6B0B-06CC-B43A-CD5078431559}"/>
              </a:ext>
            </a:extLst>
          </p:cNvPr>
          <p:cNvSpPr/>
          <p:nvPr userDrawn="1"/>
        </p:nvSpPr>
        <p:spPr bwMode="hidden">
          <a:xfrm>
            <a:off x="4572000" y="0"/>
            <a:ext cx="4572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23555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solidFill>
                  <a:schemeClr val="bg1"/>
                </a:solidFill>
              </a:defRPr>
            </a:lvl1p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B271AAC3-983A-6332-C4FC-50DD598C7FE9}"/>
              </a:ext>
            </a:extLst>
          </p:cNvPr>
          <p:cNvSpPr>
            <a:spLocks noGrp="1"/>
          </p:cNvSpPr>
          <p:nvPr>
            <p:ph type="body" idx="1" hasCustomPrompt="1"/>
          </p:nvPr>
        </p:nvSpPr>
        <p:spPr>
          <a:xfrm>
            <a:off x="152400" y="899813"/>
            <a:ext cx="3987760"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0" name="Title 1">
            <a:extLst>
              <a:ext uri="{FF2B5EF4-FFF2-40B4-BE49-F238E27FC236}">
                <a16:creationId xmlns:a16="http://schemas.microsoft.com/office/drawing/2014/main" id="{4A38D24B-1349-6299-EFE3-B67DB680A538}"/>
              </a:ext>
            </a:extLst>
          </p:cNvPr>
          <p:cNvSpPr>
            <a:spLocks noGrp="1"/>
          </p:cNvSpPr>
          <p:nvPr>
            <p:ph type="title" hasCustomPrompt="1"/>
          </p:nvPr>
        </p:nvSpPr>
        <p:spPr>
          <a:xfrm>
            <a:off x="152400" y="447675"/>
            <a:ext cx="3987760" cy="440075"/>
          </a:xfrm>
        </p:spPr>
        <p:txBody>
          <a:bodyPr vert="horz" tIns="0" rIns="0" anchor="t">
            <a:noAutofit/>
          </a:bodyPr>
          <a:lstStyle>
            <a:lvl1pPr>
              <a:defRPr sz="2800"/>
            </a:lvl1pPr>
          </a:lstStyle>
          <a:p>
            <a:r>
              <a:rPr lang="en-GB" dirty="0"/>
              <a:t>Slide title</a:t>
            </a:r>
          </a:p>
        </p:txBody>
      </p:sp>
      <p:sp>
        <p:nvSpPr>
          <p:cNvPr id="11" name="Content Placeholder 7">
            <a:extLst>
              <a:ext uri="{FF2B5EF4-FFF2-40B4-BE49-F238E27FC236}">
                <a16:creationId xmlns:a16="http://schemas.microsoft.com/office/drawing/2014/main" id="{28F89012-3F8F-B225-A063-AD76A8D95062}"/>
              </a:ext>
            </a:extLst>
          </p:cNvPr>
          <p:cNvSpPr>
            <a:spLocks noGrp="1"/>
          </p:cNvSpPr>
          <p:nvPr>
            <p:ph sz="quarter" idx="42"/>
          </p:nvPr>
        </p:nvSpPr>
        <p:spPr>
          <a:xfrm>
            <a:off x="489283" y="1771650"/>
            <a:ext cx="3650877"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24295F98-C7B8-689C-C5AE-C0E6A6E1E94B}"/>
              </a:ext>
            </a:extLst>
          </p:cNvPr>
          <p:cNvSpPr>
            <a:spLocks noGrp="1"/>
          </p:cNvSpPr>
          <p:nvPr>
            <p:ph type="body" idx="34" hasCustomPrompt="1"/>
          </p:nvPr>
        </p:nvSpPr>
        <p:spPr>
          <a:xfrm>
            <a:off x="489283" y="1314451"/>
            <a:ext cx="3650877"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4" name="Content Placeholder 7">
            <a:extLst>
              <a:ext uri="{FF2B5EF4-FFF2-40B4-BE49-F238E27FC236}">
                <a16:creationId xmlns:a16="http://schemas.microsoft.com/office/drawing/2014/main" id="{391EF581-75E9-F4F8-6E49-31823495FE2C}"/>
              </a:ext>
            </a:extLst>
          </p:cNvPr>
          <p:cNvSpPr>
            <a:spLocks noGrp="1"/>
          </p:cNvSpPr>
          <p:nvPr>
            <p:ph sz="quarter" idx="43"/>
          </p:nvPr>
        </p:nvSpPr>
        <p:spPr>
          <a:xfrm>
            <a:off x="4968688" y="870977"/>
            <a:ext cx="3650877" cy="3680386"/>
          </a:xfrm>
        </p:spPr>
        <p:txBody>
          <a:bodyPr lIns="0" tIns="0" rIns="0" bIns="0">
            <a:noAutofit/>
          </a:bodyPr>
          <a:lstStyle>
            <a:lvl1pPr>
              <a:defRPr>
                <a:solidFill>
                  <a:schemeClr val="bg1"/>
                </a:solidFill>
              </a:defRPr>
            </a:lvl1pPr>
            <a:lvl2pPr>
              <a:defRPr>
                <a:solidFill>
                  <a:schemeClr val="bg1"/>
                </a:solidFill>
              </a:defRPr>
            </a:lvl2pPr>
            <a:lvl3pPr>
              <a:buClr>
                <a:schemeClr val="bg1"/>
              </a:buClr>
              <a:buSzPct val="110000"/>
              <a:defRPr>
                <a:solidFill>
                  <a:schemeClr val="bg1"/>
                </a:solidFill>
              </a:defRPr>
            </a:lvl3pPr>
          </a:lstStyle>
          <a:p>
            <a:pPr lvl="0"/>
            <a:r>
              <a:rPr lang="en-GB" dirty="0"/>
              <a:t>Click to edit Master text styles</a:t>
            </a:r>
          </a:p>
          <a:p>
            <a:pPr lvl="1"/>
            <a:r>
              <a:rPr lang="en-GB" dirty="0"/>
              <a:t>Second level</a:t>
            </a:r>
          </a:p>
        </p:txBody>
      </p:sp>
      <p:sp>
        <p:nvSpPr>
          <p:cNvPr id="15" name="Text Placeholder 8">
            <a:extLst>
              <a:ext uri="{FF2B5EF4-FFF2-40B4-BE49-F238E27FC236}">
                <a16:creationId xmlns:a16="http://schemas.microsoft.com/office/drawing/2014/main" id="{86FD3A2F-6BAB-F587-4B61-B471FE0A12AC}"/>
              </a:ext>
            </a:extLst>
          </p:cNvPr>
          <p:cNvSpPr>
            <a:spLocks noGrp="1"/>
          </p:cNvSpPr>
          <p:nvPr>
            <p:ph type="body" idx="44" hasCustomPrompt="1"/>
          </p:nvPr>
        </p:nvSpPr>
        <p:spPr>
          <a:xfrm>
            <a:off x="4968687" y="447675"/>
            <a:ext cx="3650877" cy="252000"/>
          </a:xfrm>
          <a:prstGeom prst="rect">
            <a:avLst/>
          </a:prstGeom>
        </p:spPr>
        <p:txBody>
          <a:bodyPr lIns="0" tIns="0" rIns="0" bIns="0" anchor="t">
            <a:noAutofit/>
          </a:bodyPr>
          <a:lstStyle>
            <a:lvl1pPr marL="0" indent="0">
              <a:lnSpc>
                <a:spcPct val="90000"/>
              </a:lnSpc>
              <a:buNone/>
              <a:defRPr sz="1400" b="1">
                <a:solidFill>
                  <a:schemeClr val="bg1"/>
                </a:solidFill>
              </a:defRPr>
            </a:lvl1pPr>
          </a:lstStyle>
          <a:p>
            <a:r>
              <a:rPr lang="en-GB" dirty="0"/>
              <a:t>Section heading</a:t>
            </a:r>
          </a:p>
        </p:txBody>
      </p:sp>
      <p:sp>
        <p:nvSpPr>
          <p:cNvPr id="5" name="Text Placeholder 29">
            <a:extLst>
              <a:ext uri="{FF2B5EF4-FFF2-40B4-BE49-F238E27FC236}">
                <a16:creationId xmlns:a16="http://schemas.microsoft.com/office/drawing/2014/main" id="{DC245757-3591-8A51-B51F-9249CAB0E128}"/>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800635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 Split -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981470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solidFill>
                  <a:schemeClr val="tx2"/>
                </a:solidFill>
              </a:defRPr>
            </a:lvl1pPr>
          </a:lstStyle>
          <a:p>
            <a:fld id="{CC6EE8D8-BDE1-7940-A77B-94F3F186491E}" type="slidenum">
              <a:rPr lang="en-GB" smtClean="0"/>
              <a:pPr/>
              <a:t>‹#›</a:t>
            </a:fld>
            <a:endParaRPr lang="en-GB" dirty="0"/>
          </a:p>
        </p:txBody>
      </p:sp>
      <p:sp>
        <p:nvSpPr>
          <p:cNvPr id="7" name="Text Placeholder 8">
            <a:extLst>
              <a:ext uri="{FF2B5EF4-FFF2-40B4-BE49-F238E27FC236}">
                <a16:creationId xmlns:a16="http://schemas.microsoft.com/office/drawing/2014/main" id="{61DAE910-053E-43BA-959D-C112664938C0}"/>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2DCC5FD6-886D-D8C9-1F3A-B2892EC6ED81}"/>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10" name="Content Placeholder 7">
            <a:extLst>
              <a:ext uri="{FF2B5EF4-FFF2-40B4-BE49-F238E27FC236}">
                <a16:creationId xmlns:a16="http://schemas.microsoft.com/office/drawing/2014/main" id="{189C1278-8309-8374-62C0-5B65926DA79E}"/>
              </a:ext>
            </a:extLst>
          </p:cNvPr>
          <p:cNvSpPr>
            <a:spLocks noGrp="1"/>
          </p:cNvSpPr>
          <p:nvPr>
            <p:ph sz="quarter" idx="42"/>
          </p:nvPr>
        </p:nvSpPr>
        <p:spPr>
          <a:xfrm>
            <a:off x="524435" y="1771650"/>
            <a:ext cx="3650877"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2D85C682-3F70-223A-6888-270738B68880}"/>
              </a:ext>
            </a:extLst>
          </p:cNvPr>
          <p:cNvSpPr>
            <a:spLocks noGrp="1"/>
          </p:cNvSpPr>
          <p:nvPr>
            <p:ph sz="quarter" idx="43"/>
          </p:nvPr>
        </p:nvSpPr>
        <p:spPr>
          <a:xfrm>
            <a:off x="4968688" y="1771650"/>
            <a:ext cx="3650877"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8">
            <a:extLst>
              <a:ext uri="{FF2B5EF4-FFF2-40B4-BE49-F238E27FC236}">
                <a16:creationId xmlns:a16="http://schemas.microsoft.com/office/drawing/2014/main" id="{58CF368A-F8DF-4D0F-A7B4-2DE10F6BE2C1}"/>
              </a:ext>
            </a:extLst>
          </p:cNvPr>
          <p:cNvSpPr>
            <a:spLocks noGrp="1"/>
          </p:cNvSpPr>
          <p:nvPr>
            <p:ph type="body" idx="34" hasCustomPrompt="1"/>
          </p:nvPr>
        </p:nvSpPr>
        <p:spPr>
          <a:xfrm>
            <a:off x="524435" y="1314451"/>
            <a:ext cx="365087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3" name="Text Placeholder 8">
            <a:extLst>
              <a:ext uri="{FF2B5EF4-FFF2-40B4-BE49-F238E27FC236}">
                <a16:creationId xmlns:a16="http://schemas.microsoft.com/office/drawing/2014/main" id="{894C9EB2-0A45-F285-4887-9C642FF67E5C}"/>
              </a:ext>
            </a:extLst>
          </p:cNvPr>
          <p:cNvSpPr>
            <a:spLocks noGrp="1"/>
          </p:cNvSpPr>
          <p:nvPr>
            <p:ph type="body" idx="44" hasCustomPrompt="1"/>
          </p:nvPr>
        </p:nvSpPr>
        <p:spPr>
          <a:xfrm>
            <a:off x="4968688" y="1314451"/>
            <a:ext cx="3672874"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5" name="Text Placeholder 29">
            <a:extLst>
              <a:ext uri="{FF2B5EF4-FFF2-40B4-BE49-F238E27FC236}">
                <a16:creationId xmlns:a16="http://schemas.microsoft.com/office/drawing/2014/main" id="{0747AA99-1B47-6BFD-6A09-D0186CF9A541}"/>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061185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Box - Custom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5527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B74940C8-F3E2-C0B3-63E3-826C016E1B42}"/>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20D47EBF-AFBA-A6A1-08B9-33E0DAE4E2F0}"/>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596B3AA7-C3E8-0595-41AA-B27F0876CD95}"/>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992BBDB3-1AEC-C940-7D68-D2E27C6FEF21}"/>
              </a:ext>
            </a:extLst>
          </p:cNvPr>
          <p:cNvSpPr>
            <a:spLocks noGrp="1"/>
          </p:cNvSpPr>
          <p:nvPr>
            <p:ph sz="quarter" idx="42"/>
          </p:nvPr>
        </p:nvSpPr>
        <p:spPr>
          <a:xfrm>
            <a:off x="152400" y="1771650"/>
            <a:ext cx="8842248"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8">
            <a:extLst>
              <a:ext uri="{FF2B5EF4-FFF2-40B4-BE49-F238E27FC236}">
                <a16:creationId xmlns:a16="http://schemas.microsoft.com/office/drawing/2014/main" id="{84289155-6AD1-8965-8221-29DEF9C671E0}"/>
              </a:ext>
            </a:extLst>
          </p:cNvPr>
          <p:cNvSpPr>
            <a:spLocks noGrp="1"/>
          </p:cNvSpPr>
          <p:nvPr>
            <p:ph type="body" idx="34" hasCustomPrompt="1"/>
          </p:nvPr>
        </p:nvSpPr>
        <p:spPr>
          <a:xfrm>
            <a:off x="152400" y="1314451"/>
            <a:ext cx="8842248"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1" name="Text Placeholder 29">
            <a:extLst>
              <a:ext uri="{FF2B5EF4-FFF2-40B4-BE49-F238E27FC236}">
                <a16:creationId xmlns:a16="http://schemas.microsoft.com/office/drawing/2014/main" id="{B6045E1F-81D8-5E19-B674-EA06F8314CF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737477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38593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p>
            <a:fld id="{CC6EE8D8-BDE1-7940-A77B-94F3F186491E}" type="slidenum">
              <a:rPr lang="en-GB" smtClean="0"/>
              <a:pPr/>
              <a:t>‹#›</a:t>
            </a:fld>
            <a:endParaRPr lang="en-GB" dirty="0"/>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7" name="Text Placeholder 8">
            <a:extLst>
              <a:ext uri="{FF2B5EF4-FFF2-40B4-BE49-F238E27FC236}">
                <a16:creationId xmlns:a16="http://schemas.microsoft.com/office/drawing/2014/main" id="{1F52BB34-EBCB-4F07-5314-33586E9E19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0" name="Title 1">
            <a:extLst>
              <a:ext uri="{FF2B5EF4-FFF2-40B4-BE49-F238E27FC236}">
                <a16:creationId xmlns:a16="http://schemas.microsoft.com/office/drawing/2014/main" id="{A489602D-A6F7-49C8-F6F1-6F24A0A10645}"/>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Report slide title</a:t>
            </a:r>
          </a:p>
        </p:txBody>
      </p:sp>
      <p:sp>
        <p:nvSpPr>
          <p:cNvPr id="11" name="Content Placeholder 7">
            <a:extLst>
              <a:ext uri="{FF2B5EF4-FFF2-40B4-BE49-F238E27FC236}">
                <a16:creationId xmlns:a16="http://schemas.microsoft.com/office/drawing/2014/main" id="{42B06FF9-66E7-D3BC-18DC-B460DF57F149}"/>
              </a:ext>
            </a:extLst>
          </p:cNvPr>
          <p:cNvSpPr>
            <a:spLocks noGrp="1"/>
          </p:cNvSpPr>
          <p:nvPr>
            <p:ph sz="quarter" idx="42"/>
          </p:nvPr>
        </p:nvSpPr>
        <p:spPr>
          <a:xfrm>
            <a:off x="152399" y="1230919"/>
            <a:ext cx="4023360" cy="3325583"/>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4" name="Text Placeholder 8">
            <a:extLst>
              <a:ext uri="{FF2B5EF4-FFF2-40B4-BE49-F238E27FC236}">
                <a16:creationId xmlns:a16="http://schemas.microsoft.com/office/drawing/2014/main" id="{860A8AC1-E485-3AFC-0C09-FD9CD23BD86D}"/>
              </a:ext>
            </a:extLst>
          </p:cNvPr>
          <p:cNvSpPr>
            <a:spLocks noGrp="1"/>
          </p:cNvSpPr>
          <p:nvPr>
            <p:ph type="body" idx="43" hasCustomPrompt="1"/>
          </p:nvPr>
        </p:nvSpPr>
        <p:spPr>
          <a:xfrm>
            <a:off x="152400"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
        <p:nvSpPr>
          <p:cNvPr id="15" name="Content Placeholder 7">
            <a:extLst>
              <a:ext uri="{FF2B5EF4-FFF2-40B4-BE49-F238E27FC236}">
                <a16:creationId xmlns:a16="http://schemas.microsoft.com/office/drawing/2014/main" id="{539604CA-80F6-802C-A5DF-3D55A5BA91C8}"/>
              </a:ext>
            </a:extLst>
          </p:cNvPr>
          <p:cNvSpPr>
            <a:spLocks noGrp="1"/>
          </p:cNvSpPr>
          <p:nvPr>
            <p:ph sz="quarter" idx="44"/>
          </p:nvPr>
        </p:nvSpPr>
        <p:spPr>
          <a:xfrm>
            <a:off x="4648200" y="1230919"/>
            <a:ext cx="4023360" cy="3325584"/>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6" name="Text Placeholder 8">
            <a:extLst>
              <a:ext uri="{FF2B5EF4-FFF2-40B4-BE49-F238E27FC236}">
                <a16:creationId xmlns:a16="http://schemas.microsoft.com/office/drawing/2014/main" id="{BEA8CE92-783C-A88E-C254-C4F5FB4B42A3}"/>
              </a:ext>
            </a:extLst>
          </p:cNvPr>
          <p:cNvSpPr>
            <a:spLocks noGrp="1"/>
          </p:cNvSpPr>
          <p:nvPr>
            <p:ph type="body" idx="45" hasCustomPrompt="1"/>
          </p:nvPr>
        </p:nvSpPr>
        <p:spPr>
          <a:xfrm>
            <a:off x="4648200"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Tree>
    <p:extLst>
      <p:ext uri="{BB962C8B-B14F-4D97-AF65-F5344CB8AC3E}">
        <p14:creationId xmlns:p14="http://schemas.microsoft.com/office/powerpoint/2010/main" val="3493861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ngle Column - Ident">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D446CBF-2CA8-A3D4-4B64-685D3E8AB1AA}"/>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99586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lvl1pPr>
              <a:defRPr baseline="0"/>
            </a:lvl1p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696F939E-AE52-0B4C-1202-26AD3C6704D6}"/>
              </a:ext>
            </a:extLst>
          </p:cNvPr>
          <p:cNvSpPr>
            <a:spLocks noGrp="1"/>
          </p:cNvSpPr>
          <p:nvPr>
            <p:ph type="body" idx="1" hasCustomPrompt="1"/>
          </p:nvPr>
        </p:nvSpPr>
        <p:spPr>
          <a:xfrm>
            <a:off x="152400" y="815993"/>
            <a:ext cx="5070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9D790152-0FE7-37FD-118B-7BAD91FCEE4C}"/>
              </a:ext>
            </a:extLst>
          </p:cNvPr>
          <p:cNvSpPr>
            <a:spLocks noGrp="1"/>
          </p:cNvSpPr>
          <p:nvPr>
            <p:ph type="title" hasCustomPrompt="1"/>
          </p:nvPr>
        </p:nvSpPr>
        <p:spPr>
          <a:xfrm>
            <a:off x="152400" y="447675"/>
            <a:ext cx="5070247" cy="329971"/>
          </a:xfrm>
        </p:spPr>
        <p:txBody>
          <a:bodyPr vert="horz" tIns="0" rIns="0" anchor="t">
            <a:noAutofit/>
          </a:bodyPr>
          <a:lstStyle>
            <a:lvl1pPr>
              <a:defRPr sz="1800"/>
            </a:lvl1pPr>
          </a:lstStyle>
          <a:p>
            <a:r>
              <a:rPr lang="en-GB" dirty="0"/>
              <a:t>Report slide title</a:t>
            </a:r>
          </a:p>
        </p:txBody>
      </p:sp>
      <p:sp>
        <p:nvSpPr>
          <p:cNvPr id="9" name="Content Placeholder 7">
            <a:extLst>
              <a:ext uri="{FF2B5EF4-FFF2-40B4-BE49-F238E27FC236}">
                <a16:creationId xmlns:a16="http://schemas.microsoft.com/office/drawing/2014/main" id="{DDB3D42A-531D-83A1-B195-068EFF37206B}"/>
              </a:ext>
            </a:extLst>
          </p:cNvPr>
          <p:cNvSpPr>
            <a:spLocks noGrp="1"/>
          </p:cNvSpPr>
          <p:nvPr>
            <p:ph sz="quarter" idx="42"/>
          </p:nvPr>
        </p:nvSpPr>
        <p:spPr>
          <a:xfrm>
            <a:off x="152400" y="1230919"/>
            <a:ext cx="5070247" cy="3325584"/>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4B262DB0-1614-0D06-269A-30B124F54FEE}"/>
              </a:ext>
            </a:extLst>
          </p:cNvPr>
          <p:cNvSpPr>
            <a:spLocks noGrp="1"/>
          </p:cNvSpPr>
          <p:nvPr>
            <p:ph type="body" idx="43" hasCustomPrompt="1"/>
          </p:nvPr>
        </p:nvSpPr>
        <p:spPr>
          <a:xfrm>
            <a:off x="152400" y="4435850"/>
            <a:ext cx="5070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5702475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 Column - Image">
    <p:spTree>
      <p:nvGrpSpPr>
        <p:cNvPr id="1" name=""/>
        <p:cNvGrpSpPr/>
        <p:nvPr/>
      </p:nvGrpSpPr>
      <p:grpSpPr>
        <a:xfrm>
          <a:off x="0" y="0"/>
          <a:ext cx="0" cy="0"/>
          <a:chOff x="0" y="0"/>
          <a:chExt cx="0" cy="0"/>
        </a:xfrm>
      </p:grpSpPr>
      <p:sp>
        <p:nvSpPr>
          <p:cNvPr id="7" name="Picture Placeholder 20">
            <a:extLst>
              <a:ext uri="{FF2B5EF4-FFF2-40B4-BE49-F238E27FC236}">
                <a16:creationId xmlns:a16="http://schemas.microsoft.com/office/drawing/2014/main" id="{EE6772C1-BCE7-E34F-9502-5D95A1AD7751}"/>
              </a:ext>
            </a:extLst>
          </p:cNvPr>
          <p:cNvSpPr>
            <a:spLocks noGrp="1"/>
          </p:cNvSpPr>
          <p:nvPr>
            <p:ph type="pic" sz="quarter" idx="14"/>
          </p:nvPr>
        </p:nvSpPr>
        <p:spPr>
          <a:xfrm>
            <a:off x="4524602" y="-14696"/>
            <a:ext cx="4625187" cy="5186849"/>
          </a:xfrm>
          <a:custGeom>
            <a:avLst/>
            <a:gdLst>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8" fmla="*/ 4245312 w 5584369"/>
              <a:gd name="connsiteY8" fmla="*/ 0 h 5142995"/>
              <a:gd name="connsiteX0" fmla="*/ 4245312 w 5584369"/>
              <a:gd name="connsiteY0" fmla="*/ 0 h 5142995"/>
              <a:gd name="connsiteX1" fmla="*/ 4604185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8" fmla="*/ 4245312 w 5584369"/>
              <a:gd name="connsiteY8" fmla="*/ 0 h 5142995"/>
              <a:gd name="connsiteX0" fmla="*/ 4245312 w 4604185"/>
              <a:gd name="connsiteY0" fmla="*/ 0 h 5156158"/>
              <a:gd name="connsiteX1" fmla="*/ 4604185 w 4604185"/>
              <a:gd name="connsiteY1" fmla="*/ 0 h 5156158"/>
              <a:gd name="connsiteX2" fmla="*/ 4591028 w 4604185"/>
              <a:gd name="connsiteY2" fmla="*/ 5156158 h 5156158"/>
              <a:gd name="connsiteX3" fmla="*/ 312324 w 4604185"/>
              <a:gd name="connsiteY3" fmla="*/ 5142995 h 5156158"/>
              <a:gd name="connsiteX4" fmla="*/ 206970 w 4604185"/>
              <a:gd name="connsiteY4" fmla="*/ 5037644 h 5156158"/>
              <a:gd name="connsiteX5" fmla="*/ 207063 w 4604185"/>
              <a:gd name="connsiteY5" fmla="*/ 5037644 h 5156158"/>
              <a:gd name="connsiteX6" fmla="*/ 0 w 4604185"/>
              <a:gd name="connsiteY6" fmla="*/ 4537838 h 5156158"/>
              <a:gd name="connsiteX7" fmla="*/ 207063 w 4604185"/>
              <a:gd name="connsiteY7" fmla="*/ 4038031 h 5156158"/>
              <a:gd name="connsiteX8" fmla="*/ 4245312 w 4604185"/>
              <a:gd name="connsiteY8" fmla="*/ 0 h 5156158"/>
              <a:gd name="connsiteX0" fmla="*/ 4245312 w 4630879"/>
              <a:gd name="connsiteY0" fmla="*/ 0 h 5156158"/>
              <a:gd name="connsiteX1" fmla="*/ 4604185 w 4630879"/>
              <a:gd name="connsiteY1" fmla="*/ 0 h 5156158"/>
              <a:gd name="connsiteX2" fmla="*/ 4630499 w 4630879"/>
              <a:gd name="connsiteY2" fmla="*/ 5156158 h 5156158"/>
              <a:gd name="connsiteX3" fmla="*/ 312324 w 4630879"/>
              <a:gd name="connsiteY3" fmla="*/ 5142995 h 5156158"/>
              <a:gd name="connsiteX4" fmla="*/ 206970 w 4630879"/>
              <a:gd name="connsiteY4" fmla="*/ 5037644 h 5156158"/>
              <a:gd name="connsiteX5" fmla="*/ 207063 w 4630879"/>
              <a:gd name="connsiteY5" fmla="*/ 5037644 h 5156158"/>
              <a:gd name="connsiteX6" fmla="*/ 0 w 4630879"/>
              <a:gd name="connsiteY6" fmla="*/ 4537838 h 5156158"/>
              <a:gd name="connsiteX7" fmla="*/ 207063 w 4630879"/>
              <a:gd name="connsiteY7" fmla="*/ 4038031 h 5156158"/>
              <a:gd name="connsiteX8" fmla="*/ 4245312 w 4630879"/>
              <a:gd name="connsiteY8" fmla="*/ 0 h 5156158"/>
              <a:gd name="connsiteX0" fmla="*/ 4245312 w 4631295"/>
              <a:gd name="connsiteY0" fmla="*/ 13162 h 5169320"/>
              <a:gd name="connsiteX1" fmla="*/ 4623920 w 4631295"/>
              <a:gd name="connsiteY1" fmla="*/ 0 h 5169320"/>
              <a:gd name="connsiteX2" fmla="*/ 4630499 w 4631295"/>
              <a:gd name="connsiteY2" fmla="*/ 5169320 h 5169320"/>
              <a:gd name="connsiteX3" fmla="*/ 312324 w 4631295"/>
              <a:gd name="connsiteY3" fmla="*/ 5156157 h 5169320"/>
              <a:gd name="connsiteX4" fmla="*/ 206970 w 4631295"/>
              <a:gd name="connsiteY4" fmla="*/ 5050806 h 5169320"/>
              <a:gd name="connsiteX5" fmla="*/ 207063 w 4631295"/>
              <a:gd name="connsiteY5" fmla="*/ 5050806 h 5169320"/>
              <a:gd name="connsiteX6" fmla="*/ 0 w 4631295"/>
              <a:gd name="connsiteY6" fmla="*/ 4551000 h 5169320"/>
              <a:gd name="connsiteX7" fmla="*/ 207063 w 4631295"/>
              <a:gd name="connsiteY7" fmla="*/ 4051193 h 5169320"/>
              <a:gd name="connsiteX8" fmla="*/ 4245312 w 4631295"/>
              <a:gd name="connsiteY8" fmla="*/ 13162 h 5169320"/>
              <a:gd name="connsiteX0" fmla="*/ 4265048 w 4631295"/>
              <a:gd name="connsiteY0" fmla="*/ 0 h 5182484"/>
              <a:gd name="connsiteX1" fmla="*/ 4623920 w 4631295"/>
              <a:gd name="connsiteY1" fmla="*/ 13164 h 5182484"/>
              <a:gd name="connsiteX2" fmla="*/ 4630499 w 4631295"/>
              <a:gd name="connsiteY2" fmla="*/ 5182484 h 5182484"/>
              <a:gd name="connsiteX3" fmla="*/ 312324 w 4631295"/>
              <a:gd name="connsiteY3" fmla="*/ 5169321 h 5182484"/>
              <a:gd name="connsiteX4" fmla="*/ 206970 w 4631295"/>
              <a:gd name="connsiteY4" fmla="*/ 5063970 h 5182484"/>
              <a:gd name="connsiteX5" fmla="*/ 207063 w 4631295"/>
              <a:gd name="connsiteY5" fmla="*/ 5063970 h 5182484"/>
              <a:gd name="connsiteX6" fmla="*/ 0 w 4631295"/>
              <a:gd name="connsiteY6" fmla="*/ 4564164 h 5182484"/>
              <a:gd name="connsiteX7" fmla="*/ 207063 w 4631295"/>
              <a:gd name="connsiteY7" fmla="*/ 4064357 h 5182484"/>
              <a:gd name="connsiteX8" fmla="*/ 4265048 w 4631295"/>
              <a:gd name="connsiteY8" fmla="*/ 0 h 5182484"/>
              <a:gd name="connsiteX0" fmla="*/ 4265048 w 4631295"/>
              <a:gd name="connsiteY0" fmla="*/ 0 h 5182484"/>
              <a:gd name="connsiteX1" fmla="*/ 4623920 w 4631295"/>
              <a:gd name="connsiteY1" fmla="*/ 1 h 5182484"/>
              <a:gd name="connsiteX2" fmla="*/ 4630499 w 4631295"/>
              <a:gd name="connsiteY2" fmla="*/ 5182484 h 5182484"/>
              <a:gd name="connsiteX3" fmla="*/ 312324 w 4631295"/>
              <a:gd name="connsiteY3" fmla="*/ 5169321 h 5182484"/>
              <a:gd name="connsiteX4" fmla="*/ 206970 w 4631295"/>
              <a:gd name="connsiteY4" fmla="*/ 5063970 h 5182484"/>
              <a:gd name="connsiteX5" fmla="*/ 207063 w 4631295"/>
              <a:gd name="connsiteY5" fmla="*/ 5063970 h 5182484"/>
              <a:gd name="connsiteX6" fmla="*/ 0 w 4631295"/>
              <a:gd name="connsiteY6" fmla="*/ 4564164 h 5182484"/>
              <a:gd name="connsiteX7" fmla="*/ 207063 w 4631295"/>
              <a:gd name="connsiteY7" fmla="*/ 4064357 h 5182484"/>
              <a:gd name="connsiteX8" fmla="*/ 4265048 w 4631295"/>
              <a:gd name="connsiteY8" fmla="*/ 0 h 5182484"/>
              <a:gd name="connsiteX0" fmla="*/ 4265048 w 4631295"/>
              <a:gd name="connsiteY0" fmla="*/ 0 h 5175902"/>
              <a:gd name="connsiteX1" fmla="*/ 4623920 w 4631295"/>
              <a:gd name="connsiteY1" fmla="*/ 1 h 5175902"/>
              <a:gd name="connsiteX2" fmla="*/ 4630499 w 4631295"/>
              <a:gd name="connsiteY2" fmla="*/ 5175902 h 5175902"/>
              <a:gd name="connsiteX3" fmla="*/ 312324 w 4631295"/>
              <a:gd name="connsiteY3" fmla="*/ 5169321 h 5175902"/>
              <a:gd name="connsiteX4" fmla="*/ 206970 w 4631295"/>
              <a:gd name="connsiteY4" fmla="*/ 5063970 h 5175902"/>
              <a:gd name="connsiteX5" fmla="*/ 207063 w 4631295"/>
              <a:gd name="connsiteY5" fmla="*/ 5063970 h 5175902"/>
              <a:gd name="connsiteX6" fmla="*/ 0 w 4631295"/>
              <a:gd name="connsiteY6" fmla="*/ 4564164 h 5175902"/>
              <a:gd name="connsiteX7" fmla="*/ 207063 w 4631295"/>
              <a:gd name="connsiteY7" fmla="*/ 4064357 h 5175902"/>
              <a:gd name="connsiteX8" fmla="*/ 4265048 w 4631295"/>
              <a:gd name="connsiteY8" fmla="*/ 0 h 5175902"/>
              <a:gd name="connsiteX0" fmla="*/ 4265048 w 4625187"/>
              <a:gd name="connsiteY0" fmla="*/ 0 h 5189065"/>
              <a:gd name="connsiteX1" fmla="*/ 4623920 w 4625187"/>
              <a:gd name="connsiteY1" fmla="*/ 1 h 5189065"/>
              <a:gd name="connsiteX2" fmla="*/ 4623921 w 4625187"/>
              <a:gd name="connsiteY2" fmla="*/ 5189065 h 5189065"/>
              <a:gd name="connsiteX3" fmla="*/ 312324 w 4625187"/>
              <a:gd name="connsiteY3" fmla="*/ 5169321 h 5189065"/>
              <a:gd name="connsiteX4" fmla="*/ 206970 w 4625187"/>
              <a:gd name="connsiteY4" fmla="*/ 5063970 h 5189065"/>
              <a:gd name="connsiteX5" fmla="*/ 207063 w 4625187"/>
              <a:gd name="connsiteY5" fmla="*/ 5063970 h 5189065"/>
              <a:gd name="connsiteX6" fmla="*/ 0 w 4625187"/>
              <a:gd name="connsiteY6" fmla="*/ 4564164 h 5189065"/>
              <a:gd name="connsiteX7" fmla="*/ 207063 w 4625187"/>
              <a:gd name="connsiteY7" fmla="*/ 4064357 h 5189065"/>
              <a:gd name="connsiteX8" fmla="*/ 4265048 w 4625187"/>
              <a:gd name="connsiteY8" fmla="*/ 0 h 518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5187" h="5189065">
                <a:moveTo>
                  <a:pt x="4265048" y="0"/>
                </a:moveTo>
                <a:lnTo>
                  <a:pt x="4623920" y="1"/>
                </a:lnTo>
                <a:cubicBezTo>
                  <a:pt x="4619534" y="1718720"/>
                  <a:pt x="4628307" y="3470346"/>
                  <a:pt x="4623921" y="5189065"/>
                </a:cubicBezTo>
                <a:lnTo>
                  <a:pt x="312324" y="5169321"/>
                </a:lnTo>
                <a:lnTo>
                  <a:pt x="206970" y="5063970"/>
                </a:lnTo>
                <a:lnTo>
                  <a:pt x="207063" y="5063970"/>
                </a:lnTo>
                <a:cubicBezTo>
                  <a:pt x="74488" y="4931412"/>
                  <a:pt x="0" y="4751626"/>
                  <a:pt x="0" y="4564164"/>
                </a:cubicBezTo>
                <a:cubicBezTo>
                  <a:pt x="0" y="4376696"/>
                  <a:pt x="74488" y="4196916"/>
                  <a:pt x="207063" y="4064357"/>
                </a:cubicBezTo>
                <a:lnTo>
                  <a:pt x="4265048" y="0"/>
                </a:lnTo>
                <a:close/>
              </a:path>
            </a:pathLst>
          </a:custGeom>
          <a:solidFill>
            <a:schemeClr val="bg1">
              <a:lumMod val="95000"/>
            </a:schemeClr>
          </a:solidFill>
        </p:spPr>
        <p:txBody>
          <a:bodyPr wrap="square" anchor="ctr" anchorCtr="0">
            <a:noAutofit/>
          </a:bodyPr>
          <a:lstStyle>
            <a:lvl1pPr marL="0" indent="0" algn="ctr">
              <a:buNone/>
              <a:defRPr/>
            </a:lvl1pPr>
          </a:lstStyle>
          <a:p>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1938320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lvl1pPr>
              <a:defRPr baseline="0"/>
            </a:lvl1p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696F939E-AE52-0B4C-1202-26AD3C6704D6}"/>
              </a:ext>
            </a:extLst>
          </p:cNvPr>
          <p:cNvSpPr>
            <a:spLocks noGrp="1"/>
          </p:cNvSpPr>
          <p:nvPr>
            <p:ph type="body" idx="1" hasCustomPrompt="1"/>
          </p:nvPr>
        </p:nvSpPr>
        <p:spPr>
          <a:xfrm>
            <a:off x="152400" y="815993"/>
            <a:ext cx="5070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9D790152-0FE7-37FD-118B-7BAD91FCEE4C}"/>
              </a:ext>
            </a:extLst>
          </p:cNvPr>
          <p:cNvSpPr>
            <a:spLocks noGrp="1"/>
          </p:cNvSpPr>
          <p:nvPr>
            <p:ph type="title" hasCustomPrompt="1"/>
          </p:nvPr>
        </p:nvSpPr>
        <p:spPr>
          <a:xfrm>
            <a:off x="152400" y="447675"/>
            <a:ext cx="5070247" cy="329971"/>
          </a:xfrm>
        </p:spPr>
        <p:txBody>
          <a:bodyPr vert="horz" tIns="0" rIns="0" anchor="t">
            <a:noAutofit/>
          </a:bodyPr>
          <a:lstStyle>
            <a:lvl1pPr>
              <a:defRPr sz="1800"/>
            </a:lvl1pPr>
          </a:lstStyle>
          <a:p>
            <a:r>
              <a:rPr lang="en-GB" dirty="0"/>
              <a:t>Report slide title</a:t>
            </a:r>
          </a:p>
        </p:txBody>
      </p:sp>
      <p:sp>
        <p:nvSpPr>
          <p:cNvPr id="9" name="Content Placeholder 7">
            <a:extLst>
              <a:ext uri="{FF2B5EF4-FFF2-40B4-BE49-F238E27FC236}">
                <a16:creationId xmlns:a16="http://schemas.microsoft.com/office/drawing/2014/main" id="{DDB3D42A-531D-83A1-B195-068EFF37206B}"/>
              </a:ext>
            </a:extLst>
          </p:cNvPr>
          <p:cNvSpPr>
            <a:spLocks noGrp="1"/>
          </p:cNvSpPr>
          <p:nvPr>
            <p:ph sz="quarter" idx="42"/>
          </p:nvPr>
        </p:nvSpPr>
        <p:spPr>
          <a:xfrm>
            <a:off x="152400" y="1230919"/>
            <a:ext cx="5070247" cy="3325584"/>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4B262DB0-1614-0D06-269A-30B124F54FEE}"/>
              </a:ext>
            </a:extLst>
          </p:cNvPr>
          <p:cNvSpPr>
            <a:spLocks noGrp="1"/>
          </p:cNvSpPr>
          <p:nvPr>
            <p:ph type="body" idx="43" hasCustomPrompt="1"/>
          </p:nvPr>
        </p:nvSpPr>
        <p:spPr>
          <a:xfrm>
            <a:off x="152400" y="4435850"/>
            <a:ext cx="5070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0890255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383137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p:nvPr>
        </p:nvSpPr>
        <p:spPr>
          <a:xfrm>
            <a:off x="4648200" y="1230213"/>
            <a:ext cx="402336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5" name="Text Placeholder 8">
            <a:extLst>
              <a:ext uri="{FF2B5EF4-FFF2-40B4-BE49-F238E27FC236}">
                <a16:creationId xmlns:a16="http://schemas.microsoft.com/office/drawing/2014/main" id="{93D2843C-5A04-C973-57F3-3CE976A7B0B2}"/>
              </a:ext>
            </a:extLst>
          </p:cNvPr>
          <p:cNvSpPr>
            <a:spLocks noGrp="1"/>
          </p:cNvSpPr>
          <p:nvPr>
            <p:ph type="body" idx="45" hasCustomPrompt="1"/>
          </p:nvPr>
        </p:nvSpPr>
        <p:spPr>
          <a:xfrm>
            <a:off x="4648200"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p:nvPr>
        </p:nvSpPr>
        <p:spPr>
          <a:xfrm>
            <a:off x="152400" y="1230213"/>
            <a:ext cx="402336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34159083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07349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Content Placeholder 7">
            <a:extLst>
              <a:ext uri="{FF2B5EF4-FFF2-40B4-BE49-F238E27FC236}">
                <a16:creationId xmlns:a16="http://schemas.microsoft.com/office/drawing/2014/main" id="{6897704A-0323-D7E2-680E-0A48D80ED1B9}"/>
              </a:ext>
            </a:extLst>
          </p:cNvPr>
          <p:cNvSpPr>
            <a:spLocks noGrp="1"/>
          </p:cNvSpPr>
          <p:nvPr>
            <p:ph sz="quarter" idx="44" hasCustomPrompt="1"/>
          </p:nvPr>
        </p:nvSpPr>
        <p:spPr>
          <a:xfrm>
            <a:off x="3146299" y="1482211"/>
            <a:ext cx="5848349"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0" name="Text Placeholder 8">
            <a:extLst>
              <a:ext uri="{FF2B5EF4-FFF2-40B4-BE49-F238E27FC236}">
                <a16:creationId xmlns:a16="http://schemas.microsoft.com/office/drawing/2014/main" id="{65306B4C-127F-2AAB-E5F1-D96DEB2D2922}"/>
              </a:ext>
            </a:extLst>
          </p:cNvPr>
          <p:cNvSpPr>
            <a:spLocks noGrp="1"/>
          </p:cNvSpPr>
          <p:nvPr>
            <p:ph type="body" idx="45" hasCustomPrompt="1"/>
          </p:nvPr>
        </p:nvSpPr>
        <p:spPr>
          <a:xfrm>
            <a:off x="3143250" y="4435850"/>
            <a:ext cx="584834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Text Placeholder 8">
            <a:extLst>
              <a:ext uri="{FF2B5EF4-FFF2-40B4-BE49-F238E27FC236}">
                <a16:creationId xmlns:a16="http://schemas.microsoft.com/office/drawing/2014/main" id="{8530F61E-A376-1D97-3CAA-CF3F52FEF149}"/>
              </a:ext>
            </a:extLst>
          </p:cNvPr>
          <p:cNvSpPr>
            <a:spLocks noGrp="1"/>
          </p:cNvSpPr>
          <p:nvPr>
            <p:ph type="body" idx="46" hasCustomPrompt="1"/>
          </p:nvPr>
        </p:nvSpPr>
        <p:spPr>
          <a:xfrm>
            <a:off x="3146299" y="1230212"/>
            <a:ext cx="5848349"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3" name="Text Placeholder 29">
            <a:extLst>
              <a:ext uri="{FF2B5EF4-FFF2-40B4-BE49-F238E27FC236}">
                <a16:creationId xmlns:a16="http://schemas.microsoft.com/office/drawing/2014/main" id="{15F2526B-6231-3535-455B-07472C54AE4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6949394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702657"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8" y="4435850"/>
            <a:ext cx="270265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70265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359809"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702657"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70265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20" y="4435850"/>
            <a:ext cx="270265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Tree>
    <p:extLst>
      <p:ext uri="{BB962C8B-B14F-4D97-AF65-F5344CB8AC3E}">
        <p14:creationId xmlns:p14="http://schemas.microsoft.com/office/powerpoint/2010/main" val="509937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02336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2822177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nly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3051459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0F54AE9B-810E-B996-752D-70B6538E1879}"/>
              </a:ext>
            </a:extLst>
          </p:cNvPr>
          <p:cNvSpPr>
            <a:spLocks noGrp="1"/>
          </p:cNvSpPr>
          <p:nvPr>
            <p:ph type="body" idx="20" hasCustomPrompt="1"/>
          </p:nvPr>
        </p:nvSpPr>
        <p:spPr>
          <a:xfrm>
            <a:off x="152400" y="1314450"/>
            <a:ext cx="43434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DADE09FA-BE79-4F20-277D-FAAC03245A8F}"/>
              </a:ext>
            </a:extLst>
          </p:cNvPr>
          <p:cNvSpPr>
            <a:spLocks noGrp="1"/>
          </p:cNvSpPr>
          <p:nvPr>
            <p:ph type="body" sz="quarter" idx="27"/>
          </p:nvPr>
        </p:nvSpPr>
        <p:spPr>
          <a:xfrm>
            <a:off x="152400" y="1771650"/>
            <a:ext cx="4343400" cy="2754095"/>
          </a:xfrm>
        </p:spPr>
        <p:txBody>
          <a:bodyPr lIns="0" tIns="0" rIns="0" bIns="0">
            <a:noAutofit/>
          </a:bodyPr>
          <a:lstStyle>
            <a:lvl1pPr>
              <a:buClr>
                <a:schemeClr val="tx2"/>
              </a:buClr>
              <a:defRPr/>
            </a:lvl1pPr>
            <a:lvl2pPr>
              <a:defRPr/>
            </a:lvl2pPr>
            <a:lvl3pPr>
              <a:buSzPct val="110000"/>
              <a:defRPr/>
            </a:lvl3pPr>
          </a:lstStyle>
          <a:p>
            <a:pPr lvl="0"/>
            <a:r>
              <a:rPr lang="en-GB" dirty="0"/>
              <a:t>Click to edit Master text styles</a:t>
            </a:r>
          </a:p>
          <a:p>
            <a:pPr lvl="1"/>
            <a:r>
              <a:rPr lang="en-GB" dirty="0"/>
              <a:t>Second level</a:t>
            </a:r>
          </a:p>
        </p:txBody>
      </p:sp>
      <p:sp>
        <p:nvSpPr>
          <p:cNvPr id="12" name="Text Placeholder 8">
            <a:extLst>
              <a:ext uri="{FF2B5EF4-FFF2-40B4-BE49-F238E27FC236}">
                <a16:creationId xmlns:a16="http://schemas.microsoft.com/office/drawing/2014/main" id="{7B41B6D8-ABC8-39EE-2C35-67402C97902D}"/>
              </a:ext>
            </a:extLst>
          </p:cNvPr>
          <p:cNvSpPr>
            <a:spLocks noGrp="1"/>
          </p:cNvSpPr>
          <p:nvPr>
            <p:ph type="body" idx="28" hasCustomPrompt="1"/>
          </p:nvPr>
        </p:nvSpPr>
        <p:spPr>
          <a:xfrm>
            <a:off x="4648200" y="1314450"/>
            <a:ext cx="43434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5" name="Text Placeholder 29">
            <a:extLst>
              <a:ext uri="{FF2B5EF4-FFF2-40B4-BE49-F238E27FC236}">
                <a16:creationId xmlns:a16="http://schemas.microsoft.com/office/drawing/2014/main" id="{E259A088-EEB7-3EF6-C86A-BE3084DAE4EC}"/>
              </a:ext>
            </a:extLst>
          </p:cNvPr>
          <p:cNvSpPr>
            <a:spLocks noGrp="1"/>
          </p:cNvSpPr>
          <p:nvPr>
            <p:ph type="body" sz="quarter" idx="29"/>
          </p:nvPr>
        </p:nvSpPr>
        <p:spPr>
          <a:xfrm>
            <a:off x="4648200" y="1771650"/>
            <a:ext cx="4343400" cy="275409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29">
            <a:extLst>
              <a:ext uri="{FF2B5EF4-FFF2-40B4-BE49-F238E27FC236}">
                <a16:creationId xmlns:a16="http://schemas.microsoft.com/office/drawing/2014/main" id="{660D357D-E0AF-7F9B-47C9-08B091A85032}"/>
              </a:ext>
            </a:extLst>
          </p:cNvPr>
          <p:cNvSpPr>
            <a:spLocks noGrp="1"/>
          </p:cNvSpPr>
          <p:nvPr>
            <p:ph type="body" sz="quarter" idx="30"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8825204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x Chart Solu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9343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DCDC46-4E66-815B-618F-E6C9A4634767}"/>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ECE869AF-8C92-57A4-297C-CDD600F7F757}"/>
              </a:ext>
            </a:extLst>
          </p:cNvPr>
          <p:cNvSpPr>
            <a:spLocks noGrp="1"/>
          </p:cNvSpPr>
          <p:nvPr>
            <p:ph type="title" hasCustomPrompt="1"/>
          </p:nvPr>
        </p:nvSpPr>
        <p:spPr>
          <a:xfrm>
            <a:off x="152400" y="447675"/>
            <a:ext cx="8842248" cy="329972"/>
          </a:xfrm>
        </p:spPr>
        <p:txBody>
          <a:bodyPr vert="horz" tIns="0" rIns="0" anchor="t">
            <a:noAutofit/>
          </a:bodyPr>
          <a:lstStyle>
            <a:lvl1pPr>
              <a:defRPr sz="1800"/>
            </a:lvl1pPr>
          </a:lstStyle>
          <a:p>
            <a:r>
              <a:rPr lang="en-GB" dirty="0"/>
              <a:t>Report slide title</a:t>
            </a:r>
          </a:p>
        </p:txBody>
      </p:sp>
      <p:sp>
        <p:nvSpPr>
          <p:cNvPr id="14" name="Content Placeholder 7">
            <a:extLst>
              <a:ext uri="{FF2B5EF4-FFF2-40B4-BE49-F238E27FC236}">
                <a16:creationId xmlns:a16="http://schemas.microsoft.com/office/drawing/2014/main" id="{3950D204-7E30-EC84-ED64-C3256A53024F}"/>
              </a:ext>
            </a:extLst>
          </p:cNvPr>
          <p:cNvSpPr>
            <a:spLocks noGrp="1"/>
          </p:cNvSpPr>
          <p:nvPr>
            <p:ph sz="quarter" idx="42" hasCustomPrompt="1"/>
          </p:nvPr>
        </p:nvSpPr>
        <p:spPr>
          <a:xfrm>
            <a:off x="152400" y="1482211"/>
            <a:ext cx="8842248" cy="3074291"/>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A67EC5B3-C19E-C93A-E90B-F4F2E973DD1D}"/>
              </a:ext>
            </a:extLst>
          </p:cNvPr>
          <p:cNvSpPr>
            <a:spLocks noGrp="1"/>
          </p:cNvSpPr>
          <p:nvPr>
            <p:ph type="body" idx="43" hasCustomPrompt="1"/>
          </p:nvPr>
        </p:nvSpPr>
        <p:spPr>
          <a:xfrm>
            <a:off x="152400" y="4435850"/>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108B9B8C-3D53-A282-0578-BA805F399DE7}"/>
              </a:ext>
            </a:extLst>
          </p:cNvPr>
          <p:cNvSpPr>
            <a:spLocks noGrp="1"/>
          </p:cNvSpPr>
          <p:nvPr>
            <p:ph type="body" idx="20" hasCustomPrompt="1"/>
          </p:nvPr>
        </p:nvSpPr>
        <p:spPr>
          <a:xfrm>
            <a:off x="152400"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9129754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023360" cy="3070738"/>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02336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8015542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1"/>
            <a:ext cx="402336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5" name="Content Placeholder 4">
            <a:extLst>
              <a:ext uri="{FF2B5EF4-FFF2-40B4-BE49-F238E27FC236}">
                <a16:creationId xmlns:a16="http://schemas.microsoft.com/office/drawing/2014/main" id="{EDB42311-5EF5-3625-695F-F74DF61C558D}"/>
              </a:ext>
            </a:extLst>
          </p:cNvPr>
          <p:cNvSpPr>
            <a:spLocks noGrp="1"/>
          </p:cNvSpPr>
          <p:nvPr>
            <p:ph sz="quarter" idx="47"/>
          </p:nvPr>
        </p:nvSpPr>
        <p:spPr>
          <a:xfrm>
            <a:off x="152399" y="1230213"/>
            <a:ext cx="4023360" cy="3326680"/>
          </a:xfrm>
        </p:spPr>
        <p:txBody>
          <a:bodyPr lIns="0" tIns="0" rIns="0" bIns="0"/>
          <a:lstStyle>
            <a:lvl3pPr marL="0" indent="0">
              <a:buNone/>
              <a:defRPr/>
            </a:lvl3pPr>
          </a:lstStyle>
          <a:p>
            <a:pPr lvl="0"/>
            <a:r>
              <a:rPr lang="en-US" dirty="0"/>
              <a:t>Click to edit Master text styles</a:t>
            </a:r>
          </a:p>
          <a:p>
            <a:pPr lvl="1"/>
            <a:r>
              <a:rPr lang="en-US" dirty="0"/>
              <a:t>Second level</a:t>
            </a:r>
          </a:p>
          <a:p>
            <a:pPr lvl="2"/>
            <a:endParaRPr lang="en-US" dirty="0"/>
          </a:p>
        </p:txBody>
      </p:sp>
    </p:spTree>
    <p:extLst>
      <p:ext uri="{BB962C8B-B14F-4D97-AF65-F5344CB8AC3E}">
        <p14:creationId xmlns:p14="http://schemas.microsoft.com/office/powerpoint/2010/main" val="26378397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1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786681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D9534956-1BE7-2522-3124-C29075A593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F4C62A7C-B66E-E9B6-9499-CEFF1382B60D}"/>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0CEB0579-AA8B-099D-6ED5-ED6E8B1C10E9}"/>
              </a:ext>
            </a:extLst>
          </p:cNvPr>
          <p:cNvSpPr>
            <a:spLocks noGrp="1"/>
          </p:cNvSpPr>
          <p:nvPr>
            <p:ph sz="quarter" idx="42" hasCustomPrompt="1"/>
          </p:nvPr>
        </p:nvSpPr>
        <p:spPr>
          <a:xfrm>
            <a:off x="152400" y="1482211"/>
            <a:ext cx="5921147" cy="3074291"/>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16DA46E9-BA29-D1F5-D08E-245873FD9BC1}"/>
              </a:ext>
            </a:extLst>
          </p:cNvPr>
          <p:cNvSpPr>
            <a:spLocks noGrp="1"/>
          </p:cNvSpPr>
          <p:nvPr>
            <p:ph type="body" idx="43" hasCustomPrompt="1"/>
          </p:nvPr>
        </p:nvSpPr>
        <p:spPr>
          <a:xfrm>
            <a:off x="152400" y="4435850"/>
            <a:ext cx="5921145"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185010EC-4A62-C2C3-328D-F64E9E97EE77}"/>
              </a:ext>
            </a:extLst>
          </p:cNvPr>
          <p:cNvSpPr>
            <a:spLocks noGrp="1"/>
          </p:cNvSpPr>
          <p:nvPr>
            <p:ph sz="quarter" idx="44" hasCustomPrompt="1"/>
          </p:nvPr>
        </p:nvSpPr>
        <p:spPr>
          <a:xfrm>
            <a:off x="6464078" y="1482211"/>
            <a:ext cx="2530570"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733CE6C6-11A8-ABD7-EC7C-516433B7E1E1}"/>
              </a:ext>
            </a:extLst>
          </p:cNvPr>
          <p:cNvSpPr>
            <a:spLocks noGrp="1"/>
          </p:cNvSpPr>
          <p:nvPr>
            <p:ph type="body" idx="45" hasCustomPrompt="1"/>
          </p:nvPr>
        </p:nvSpPr>
        <p:spPr>
          <a:xfrm>
            <a:off x="6464075" y="4435850"/>
            <a:ext cx="2530573"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AF90F446-2763-054A-143C-237A59E876DB}"/>
              </a:ext>
            </a:extLst>
          </p:cNvPr>
          <p:cNvSpPr>
            <a:spLocks noGrp="1"/>
          </p:cNvSpPr>
          <p:nvPr>
            <p:ph type="body" idx="20" hasCustomPrompt="1"/>
          </p:nvPr>
        </p:nvSpPr>
        <p:spPr>
          <a:xfrm>
            <a:off x="152400" y="1230212"/>
            <a:ext cx="592114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F96935D9-3048-3FA1-9D4F-D345FD79FE1A}"/>
              </a:ext>
            </a:extLst>
          </p:cNvPr>
          <p:cNvSpPr>
            <a:spLocks noGrp="1"/>
          </p:cNvSpPr>
          <p:nvPr>
            <p:ph type="body" idx="46" hasCustomPrompt="1"/>
          </p:nvPr>
        </p:nvSpPr>
        <p:spPr>
          <a:xfrm>
            <a:off x="6464075" y="1230212"/>
            <a:ext cx="2530573"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21060019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74251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B67FD59A-1FA6-0CB0-586B-90EFABE40C7B}"/>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3E154E2-4401-C66E-1530-2192A4370683}"/>
              </a:ext>
            </a:extLst>
          </p:cNvPr>
          <p:cNvSpPr>
            <a:spLocks noGrp="1"/>
          </p:cNvSpPr>
          <p:nvPr>
            <p:ph type="title" hasCustomPrompt="1"/>
          </p:nvPr>
        </p:nvSpPr>
        <p:spPr>
          <a:xfrm>
            <a:off x="152400" y="447675"/>
            <a:ext cx="8842248" cy="33511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9583CA01-CA07-98C1-EA23-E85B7151658F}"/>
              </a:ext>
            </a:extLst>
          </p:cNvPr>
          <p:cNvSpPr>
            <a:spLocks noGrp="1"/>
          </p:cNvSpPr>
          <p:nvPr>
            <p:ph sz="quarter" idx="42" hasCustomPrompt="1"/>
          </p:nvPr>
        </p:nvSpPr>
        <p:spPr>
          <a:xfrm>
            <a:off x="152400" y="1482212"/>
            <a:ext cx="2560320" cy="3069152"/>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57239B10-F4A1-1B29-704C-41EF9BED290D}"/>
              </a:ext>
            </a:extLst>
          </p:cNvPr>
          <p:cNvSpPr>
            <a:spLocks noGrp="1"/>
          </p:cNvSpPr>
          <p:nvPr>
            <p:ph type="body" idx="43" hasCustomPrompt="1"/>
          </p:nvPr>
        </p:nvSpPr>
        <p:spPr>
          <a:xfrm>
            <a:off x="152400" y="4435850"/>
            <a:ext cx="256032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Content Placeholder 7">
            <a:extLst>
              <a:ext uri="{FF2B5EF4-FFF2-40B4-BE49-F238E27FC236}">
                <a16:creationId xmlns:a16="http://schemas.microsoft.com/office/drawing/2014/main" id="{BBD8C839-2F75-E116-02B4-75EA174F6AB1}"/>
              </a:ext>
            </a:extLst>
          </p:cNvPr>
          <p:cNvSpPr>
            <a:spLocks noGrp="1"/>
          </p:cNvSpPr>
          <p:nvPr>
            <p:ph sz="quarter" idx="44" hasCustomPrompt="1"/>
          </p:nvPr>
        </p:nvSpPr>
        <p:spPr>
          <a:xfrm>
            <a:off x="3176586" y="1482211"/>
            <a:ext cx="256032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9" name="Text Placeholder 8">
            <a:extLst>
              <a:ext uri="{FF2B5EF4-FFF2-40B4-BE49-F238E27FC236}">
                <a16:creationId xmlns:a16="http://schemas.microsoft.com/office/drawing/2014/main" id="{412D0765-4921-4117-DFC8-911CF0992C40}"/>
              </a:ext>
            </a:extLst>
          </p:cNvPr>
          <p:cNvSpPr>
            <a:spLocks noGrp="1"/>
          </p:cNvSpPr>
          <p:nvPr>
            <p:ph type="body" idx="45" hasCustomPrompt="1"/>
          </p:nvPr>
        </p:nvSpPr>
        <p:spPr>
          <a:xfrm>
            <a:off x="3176586" y="4435850"/>
            <a:ext cx="256032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860B4F30-E74A-970A-7D6F-5EECE241248F}"/>
              </a:ext>
            </a:extLst>
          </p:cNvPr>
          <p:cNvSpPr>
            <a:spLocks noGrp="1"/>
          </p:cNvSpPr>
          <p:nvPr>
            <p:ph type="body" idx="20" hasCustomPrompt="1"/>
          </p:nvPr>
        </p:nvSpPr>
        <p:spPr>
          <a:xfrm>
            <a:off x="152400"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0CE625C3-B6E1-0EC4-BEA9-46CDABB50BC3}"/>
              </a:ext>
            </a:extLst>
          </p:cNvPr>
          <p:cNvSpPr>
            <a:spLocks noGrp="1"/>
          </p:cNvSpPr>
          <p:nvPr>
            <p:ph type="body" idx="46" hasCustomPrompt="1"/>
          </p:nvPr>
        </p:nvSpPr>
        <p:spPr>
          <a:xfrm>
            <a:off x="3176586"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DA9118E2-425D-DC4A-C0AB-3634BD568655}"/>
              </a:ext>
            </a:extLst>
          </p:cNvPr>
          <p:cNvSpPr>
            <a:spLocks noGrp="1"/>
          </p:cNvSpPr>
          <p:nvPr>
            <p:ph sz="quarter" idx="47" hasCustomPrompt="1"/>
          </p:nvPr>
        </p:nvSpPr>
        <p:spPr>
          <a:xfrm>
            <a:off x="6200772" y="1482211"/>
            <a:ext cx="256032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CCD58317-B7DC-6F7B-9C30-C18181FFC9C7}"/>
              </a:ext>
            </a:extLst>
          </p:cNvPr>
          <p:cNvSpPr>
            <a:spLocks noGrp="1"/>
          </p:cNvSpPr>
          <p:nvPr>
            <p:ph type="body" idx="48" hasCustomPrompt="1"/>
          </p:nvPr>
        </p:nvSpPr>
        <p:spPr>
          <a:xfrm>
            <a:off x="6200772" y="4435850"/>
            <a:ext cx="256032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4" name="Text Placeholder 8">
            <a:extLst>
              <a:ext uri="{FF2B5EF4-FFF2-40B4-BE49-F238E27FC236}">
                <a16:creationId xmlns:a16="http://schemas.microsoft.com/office/drawing/2014/main" id="{118842C3-CC13-02FB-1BCA-4B0C1D7F3C71}"/>
              </a:ext>
            </a:extLst>
          </p:cNvPr>
          <p:cNvSpPr>
            <a:spLocks noGrp="1"/>
          </p:cNvSpPr>
          <p:nvPr>
            <p:ph type="body" idx="49" hasCustomPrompt="1"/>
          </p:nvPr>
        </p:nvSpPr>
        <p:spPr>
          <a:xfrm>
            <a:off x="6200772"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3062449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402336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16" name="Content Placeholder 7">
            <a:extLst>
              <a:ext uri="{FF2B5EF4-FFF2-40B4-BE49-F238E27FC236}">
                <a16:creationId xmlns:a16="http://schemas.microsoft.com/office/drawing/2014/main" id="{3F1BFBA0-709D-960B-CD1B-3AA3BE48520C}"/>
              </a:ext>
            </a:extLst>
          </p:cNvPr>
          <p:cNvSpPr>
            <a:spLocks noGrp="1"/>
          </p:cNvSpPr>
          <p:nvPr>
            <p:ph sz="quarter" idx="44" hasCustomPrompt="1"/>
          </p:nvPr>
        </p:nvSpPr>
        <p:spPr>
          <a:xfrm>
            <a:off x="4651248" y="148221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2E0722D7-4BC3-B641-FCA1-3F51404614AD}"/>
              </a:ext>
            </a:extLst>
          </p:cNvPr>
          <p:cNvSpPr>
            <a:spLocks noGrp="1"/>
          </p:cNvSpPr>
          <p:nvPr>
            <p:ph type="body" idx="45" hasCustomPrompt="1"/>
          </p:nvPr>
        </p:nvSpPr>
        <p:spPr>
          <a:xfrm>
            <a:off x="4651248" y="2661302"/>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6884D9D7-37F9-263D-44EF-EAB8987E11AF}"/>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402336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4" name="Content Placeholder 7">
            <a:extLst>
              <a:ext uri="{FF2B5EF4-FFF2-40B4-BE49-F238E27FC236}">
                <a16:creationId xmlns:a16="http://schemas.microsoft.com/office/drawing/2014/main" id="{9CE331B2-C1F9-1CAC-0674-0117FD4C0D3E}"/>
              </a:ext>
            </a:extLst>
          </p:cNvPr>
          <p:cNvSpPr>
            <a:spLocks noGrp="1"/>
          </p:cNvSpPr>
          <p:nvPr>
            <p:ph sz="quarter" idx="49" hasCustomPrompt="1"/>
          </p:nvPr>
        </p:nvSpPr>
        <p:spPr>
          <a:xfrm>
            <a:off x="4651248" y="325386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8" name="Text Placeholder 8">
            <a:extLst>
              <a:ext uri="{FF2B5EF4-FFF2-40B4-BE49-F238E27FC236}">
                <a16:creationId xmlns:a16="http://schemas.microsoft.com/office/drawing/2014/main" id="{5DEE7DDA-10FF-6248-473E-B014172CA396}"/>
              </a:ext>
            </a:extLst>
          </p:cNvPr>
          <p:cNvSpPr>
            <a:spLocks noGrp="1"/>
          </p:cNvSpPr>
          <p:nvPr>
            <p:ph type="body" idx="50" hasCustomPrompt="1"/>
          </p:nvPr>
        </p:nvSpPr>
        <p:spPr>
          <a:xfrm>
            <a:off x="4651248" y="4435851"/>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30" name="Text Placeholder 8">
            <a:extLst>
              <a:ext uri="{FF2B5EF4-FFF2-40B4-BE49-F238E27FC236}">
                <a16:creationId xmlns:a16="http://schemas.microsoft.com/office/drawing/2014/main" id="{E3B40A07-6DE9-8D89-F23C-19C208E2E734}"/>
              </a:ext>
            </a:extLst>
          </p:cNvPr>
          <p:cNvSpPr>
            <a:spLocks noGrp="1"/>
          </p:cNvSpPr>
          <p:nvPr>
            <p:ph type="body" idx="52" hasCustomPrompt="1"/>
          </p:nvPr>
        </p:nvSpPr>
        <p:spPr>
          <a:xfrm>
            <a:off x="4651248"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9433106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 half slide vertic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894432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383137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p:nvPr>
        </p:nvSpPr>
        <p:spPr>
          <a:xfrm>
            <a:off x="4648200" y="1230213"/>
            <a:ext cx="434340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5" name="Text Placeholder 8">
            <a:extLst>
              <a:ext uri="{FF2B5EF4-FFF2-40B4-BE49-F238E27FC236}">
                <a16:creationId xmlns:a16="http://schemas.microsoft.com/office/drawing/2014/main" id="{93D2843C-5A04-C973-57F3-3CE976A7B0B2}"/>
              </a:ext>
            </a:extLst>
          </p:cNvPr>
          <p:cNvSpPr>
            <a:spLocks noGrp="1"/>
          </p:cNvSpPr>
          <p:nvPr>
            <p:ph type="body" idx="45" hasCustomPrompt="1"/>
          </p:nvPr>
        </p:nvSpPr>
        <p:spPr>
          <a:xfrm>
            <a:off x="4648200"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p:nvPr>
        </p:nvSpPr>
        <p:spPr>
          <a:xfrm>
            <a:off x="152400" y="1230213"/>
            <a:ext cx="434340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38377961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2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07349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Content Placeholder 7">
            <a:extLst>
              <a:ext uri="{FF2B5EF4-FFF2-40B4-BE49-F238E27FC236}">
                <a16:creationId xmlns:a16="http://schemas.microsoft.com/office/drawing/2014/main" id="{6897704A-0323-D7E2-680E-0A48D80ED1B9}"/>
              </a:ext>
            </a:extLst>
          </p:cNvPr>
          <p:cNvSpPr>
            <a:spLocks noGrp="1"/>
          </p:cNvSpPr>
          <p:nvPr>
            <p:ph sz="quarter" idx="44" hasCustomPrompt="1"/>
          </p:nvPr>
        </p:nvSpPr>
        <p:spPr>
          <a:xfrm>
            <a:off x="3146299" y="1482211"/>
            <a:ext cx="5848349"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0" name="Text Placeholder 8">
            <a:extLst>
              <a:ext uri="{FF2B5EF4-FFF2-40B4-BE49-F238E27FC236}">
                <a16:creationId xmlns:a16="http://schemas.microsoft.com/office/drawing/2014/main" id="{65306B4C-127F-2AAB-E5F1-D96DEB2D2922}"/>
              </a:ext>
            </a:extLst>
          </p:cNvPr>
          <p:cNvSpPr>
            <a:spLocks noGrp="1"/>
          </p:cNvSpPr>
          <p:nvPr>
            <p:ph type="body" idx="45" hasCustomPrompt="1"/>
          </p:nvPr>
        </p:nvSpPr>
        <p:spPr>
          <a:xfrm>
            <a:off x="3143250" y="4435850"/>
            <a:ext cx="584834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Text Placeholder 8">
            <a:extLst>
              <a:ext uri="{FF2B5EF4-FFF2-40B4-BE49-F238E27FC236}">
                <a16:creationId xmlns:a16="http://schemas.microsoft.com/office/drawing/2014/main" id="{8530F61E-A376-1D97-3CAA-CF3F52FEF149}"/>
              </a:ext>
            </a:extLst>
          </p:cNvPr>
          <p:cNvSpPr>
            <a:spLocks noGrp="1"/>
          </p:cNvSpPr>
          <p:nvPr>
            <p:ph type="body" idx="46" hasCustomPrompt="1"/>
          </p:nvPr>
        </p:nvSpPr>
        <p:spPr>
          <a:xfrm>
            <a:off x="3146299" y="1230212"/>
            <a:ext cx="5848349"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3" name="Text Placeholder 29">
            <a:extLst>
              <a:ext uri="{FF2B5EF4-FFF2-40B4-BE49-F238E27FC236}">
                <a16:creationId xmlns:a16="http://schemas.microsoft.com/office/drawing/2014/main" id="{15F2526B-6231-3535-455B-07472C54AE4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1688332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7"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19"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Tree>
    <p:extLst>
      <p:ext uri="{BB962C8B-B14F-4D97-AF65-F5344CB8AC3E}">
        <p14:creationId xmlns:p14="http://schemas.microsoft.com/office/powerpoint/2010/main" val="18935315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ry &amp; Text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8371787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69484FED-8AEF-4FCB-958F-D6F33D6E7942}"/>
              </a:ext>
            </a:extLst>
          </p:cNvPr>
          <p:cNvSpPr>
            <a:spLocks noGrp="1"/>
          </p:cNvSpPr>
          <p:nvPr>
            <p:ph type="body" idx="20" hasCustomPrompt="1"/>
          </p:nvPr>
        </p:nvSpPr>
        <p:spPr>
          <a:xfrm>
            <a:off x="920750" y="2576513"/>
            <a:ext cx="2854325"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2" name="Text Placeholder 8">
            <a:extLst>
              <a:ext uri="{FF2B5EF4-FFF2-40B4-BE49-F238E27FC236}">
                <a16:creationId xmlns:a16="http://schemas.microsoft.com/office/drawing/2014/main" id="{4A1275F1-FBC6-1D34-2D6E-991A6794D50E}"/>
              </a:ext>
            </a:extLst>
          </p:cNvPr>
          <p:cNvSpPr>
            <a:spLocks noGrp="1"/>
          </p:cNvSpPr>
          <p:nvPr>
            <p:ph type="body" idx="29" hasCustomPrompt="1"/>
          </p:nvPr>
        </p:nvSpPr>
        <p:spPr>
          <a:xfrm>
            <a:off x="5370830" y="2576513"/>
            <a:ext cx="2854325"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8" name="Title 1">
            <a:extLst>
              <a:ext uri="{FF2B5EF4-FFF2-40B4-BE49-F238E27FC236}">
                <a16:creationId xmlns:a16="http://schemas.microsoft.com/office/drawing/2014/main" id="{C0960ED0-D522-AF16-0A3C-5C2436C93CAE}"/>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9" name="Text Placeholder 8">
            <a:extLst>
              <a:ext uri="{FF2B5EF4-FFF2-40B4-BE49-F238E27FC236}">
                <a16:creationId xmlns:a16="http://schemas.microsoft.com/office/drawing/2014/main" id="{82B05B6C-30DE-E3E3-7E9A-388FE8B9DD7E}"/>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ext Placeholder 29">
            <a:extLst>
              <a:ext uri="{FF2B5EF4-FFF2-40B4-BE49-F238E27FC236}">
                <a16:creationId xmlns:a16="http://schemas.microsoft.com/office/drawing/2014/main" id="{219A410F-AD95-0549-8D0C-A8E15969E8AE}"/>
              </a:ext>
            </a:extLst>
          </p:cNvPr>
          <p:cNvSpPr>
            <a:spLocks noGrp="1"/>
          </p:cNvSpPr>
          <p:nvPr>
            <p:ph type="body" sz="quarter" idx="32"/>
          </p:nvPr>
        </p:nvSpPr>
        <p:spPr>
          <a:xfrm>
            <a:off x="920749" y="3025403"/>
            <a:ext cx="2854325" cy="1525959"/>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29">
            <a:extLst>
              <a:ext uri="{FF2B5EF4-FFF2-40B4-BE49-F238E27FC236}">
                <a16:creationId xmlns:a16="http://schemas.microsoft.com/office/drawing/2014/main" id="{BF19A134-C4A1-0239-ACEC-0A6BF2515BCA}"/>
              </a:ext>
            </a:extLst>
          </p:cNvPr>
          <p:cNvSpPr>
            <a:spLocks noGrp="1"/>
          </p:cNvSpPr>
          <p:nvPr>
            <p:ph type="body" sz="quarter" idx="33"/>
          </p:nvPr>
        </p:nvSpPr>
        <p:spPr>
          <a:xfrm>
            <a:off x="5367337" y="3025403"/>
            <a:ext cx="2854325" cy="1525959"/>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7" name="Picture Placeholder 14">
            <a:extLst>
              <a:ext uri="{FF2B5EF4-FFF2-40B4-BE49-F238E27FC236}">
                <a16:creationId xmlns:a16="http://schemas.microsoft.com/office/drawing/2014/main" id="{64B3BA75-49DC-916A-3F23-CAA6481588AD}"/>
              </a:ext>
            </a:extLst>
          </p:cNvPr>
          <p:cNvSpPr>
            <a:spLocks noGrp="1"/>
          </p:cNvSpPr>
          <p:nvPr>
            <p:ph type="pic" sz="quarter" idx="24" hasCustomPrompt="1"/>
          </p:nvPr>
        </p:nvSpPr>
        <p:spPr>
          <a:xfrm>
            <a:off x="918846" y="1314450"/>
            <a:ext cx="2854326" cy="1041359"/>
          </a:xfrm>
          <a:prstGeom prst="roundRect">
            <a:avLst>
              <a:gd name="adj" fmla="val 3347"/>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B51EA372-1F45-8E42-C76B-A49B7F38677E}"/>
              </a:ext>
            </a:extLst>
          </p:cNvPr>
          <p:cNvSpPr>
            <a:spLocks noGrp="1"/>
          </p:cNvSpPr>
          <p:nvPr>
            <p:ph type="pic" sz="quarter" idx="34" hasCustomPrompt="1"/>
          </p:nvPr>
        </p:nvSpPr>
        <p:spPr>
          <a:xfrm>
            <a:off x="5370829" y="1314450"/>
            <a:ext cx="2854326" cy="1041359"/>
          </a:xfrm>
          <a:prstGeom prst="roundRect">
            <a:avLst>
              <a:gd name="adj" fmla="val 3347"/>
            </a:avLst>
          </a:prstGeom>
        </p:spPr>
        <p:txBody>
          <a:bodyPr/>
          <a:lstStyle>
            <a:lvl1pPr marL="0" indent="0" algn="ctr">
              <a:buNone/>
              <a:defRPr/>
            </a:lvl1pPr>
          </a:lstStyle>
          <a:p>
            <a:r>
              <a:rPr lang="en-GB" dirty="0"/>
              <a:t>Picture</a:t>
            </a:r>
            <a:endParaRPr lang="en-US" dirty="0"/>
          </a:p>
        </p:txBody>
      </p:sp>
      <p:sp>
        <p:nvSpPr>
          <p:cNvPr id="15" name="Text Placeholder 29">
            <a:extLst>
              <a:ext uri="{FF2B5EF4-FFF2-40B4-BE49-F238E27FC236}">
                <a16:creationId xmlns:a16="http://schemas.microsoft.com/office/drawing/2014/main" id="{843F6ACF-A0F3-5B0C-0D9C-8CEEB7A74786}"/>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3100840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7"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19"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Tree>
    <p:extLst>
      <p:ext uri="{BB962C8B-B14F-4D97-AF65-F5344CB8AC3E}">
        <p14:creationId xmlns:p14="http://schemas.microsoft.com/office/powerpoint/2010/main" val="8156519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34340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4599910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346448"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346448"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3464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3464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346448"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3464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3464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913080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x Chart Solu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9343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DCDC46-4E66-815B-618F-E6C9A4634767}"/>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ECE869AF-8C92-57A4-297C-CDD600F7F757}"/>
              </a:ext>
            </a:extLst>
          </p:cNvPr>
          <p:cNvSpPr>
            <a:spLocks noGrp="1"/>
          </p:cNvSpPr>
          <p:nvPr>
            <p:ph type="title" hasCustomPrompt="1"/>
          </p:nvPr>
        </p:nvSpPr>
        <p:spPr>
          <a:xfrm>
            <a:off x="152400" y="447675"/>
            <a:ext cx="8842248" cy="329972"/>
          </a:xfrm>
        </p:spPr>
        <p:txBody>
          <a:bodyPr vert="horz" tIns="0" rIns="0" anchor="t">
            <a:noAutofit/>
          </a:bodyPr>
          <a:lstStyle>
            <a:lvl1pPr>
              <a:defRPr sz="1800"/>
            </a:lvl1pPr>
          </a:lstStyle>
          <a:p>
            <a:r>
              <a:rPr lang="en-GB" dirty="0"/>
              <a:t>Report slide title</a:t>
            </a:r>
          </a:p>
        </p:txBody>
      </p:sp>
      <p:sp>
        <p:nvSpPr>
          <p:cNvPr id="14" name="Content Placeholder 7">
            <a:extLst>
              <a:ext uri="{FF2B5EF4-FFF2-40B4-BE49-F238E27FC236}">
                <a16:creationId xmlns:a16="http://schemas.microsoft.com/office/drawing/2014/main" id="{3950D204-7E30-EC84-ED64-C3256A53024F}"/>
              </a:ext>
            </a:extLst>
          </p:cNvPr>
          <p:cNvSpPr>
            <a:spLocks noGrp="1"/>
          </p:cNvSpPr>
          <p:nvPr>
            <p:ph sz="quarter" idx="42" hasCustomPrompt="1"/>
          </p:nvPr>
        </p:nvSpPr>
        <p:spPr>
          <a:xfrm>
            <a:off x="152400" y="1482211"/>
            <a:ext cx="8842248" cy="3074291"/>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A67EC5B3-C19E-C93A-E90B-F4F2E973DD1D}"/>
              </a:ext>
            </a:extLst>
          </p:cNvPr>
          <p:cNvSpPr>
            <a:spLocks noGrp="1"/>
          </p:cNvSpPr>
          <p:nvPr>
            <p:ph type="body" idx="43" hasCustomPrompt="1"/>
          </p:nvPr>
        </p:nvSpPr>
        <p:spPr>
          <a:xfrm>
            <a:off x="152400" y="4435850"/>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108B9B8C-3D53-A282-0578-BA805F399DE7}"/>
              </a:ext>
            </a:extLst>
          </p:cNvPr>
          <p:cNvSpPr>
            <a:spLocks noGrp="1"/>
          </p:cNvSpPr>
          <p:nvPr>
            <p:ph type="body" idx="20" hasCustomPrompt="1"/>
          </p:nvPr>
        </p:nvSpPr>
        <p:spPr>
          <a:xfrm>
            <a:off x="152400"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6618684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343400" cy="3070738"/>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34340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786442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1"/>
            <a:ext cx="434340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5" name="Content Placeholder 4">
            <a:extLst>
              <a:ext uri="{FF2B5EF4-FFF2-40B4-BE49-F238E27FC236}">
                <a16:creationId xmlns:a16="http://schemas.microsoft.com/office/drawing/2014/main" id="{EDB42311-5EF5-3625-695F-F74DF61C558D}"/>
              </a:ext>
            </a:extLst>
          </p:cNvPr>
          <p:cNvSpPr>
            <a:spLocks noGrp="1"/>
          </p:cNvSpPr>
          <p:nvPr>
            <p:ph sz="quarter" idx="47"/>
          </p:nvPr>
        </p:nvSpPr>
        <p:spPr>
          <a:xfrm>
            <a:off x="152399" y="1230213"/>
            <a:ext cx="4343400" cy="3326680"/>
          </a:xfrm>
        </p:spPr>
        <p:txBody>
          <a:bodyPr lIns="0" tIns="0" rIns="0" bIns="0"/>
          <a:lstStyle>
            <a:lvl3pPr marL="0" indent="0">
              <a:buNone/>
              <a:defRPr/>
            </a:lvl3pPr>
          </a:lstStyle>
          <a:p>
            <a:pPr lvl="0"/>
            <a:r>
              <a:rPr lang="en-US" dirty="0"/>
              <a:t>Click to edit Master text styles</a:t>
            </a:r>
          </a:p>
          <a:p>
            <a:pPr lvl="1"/>
            <a:r>
              <a:rPr lang="en-US" dirty="0"/>
              <a:t>Second level</a:t>
            </a:r>
          </a:p>
          <a:p>
            <a:pPr lvl="2"/>
            <a:endParaRPr lang="en-US" dirty="0"/>
          </a:p>
        </p:txBody>
      </p:sp>
    </p:spTree>
    <p:extLst>
      <p:ext uri="{BB962C8B-B14F-4D97-AF65-F5344CB8AC3E}">
        <p14:creationId xmlns:p14="http://schemas.microsoft.com/office/powerpoint/2010/main" val="1030201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1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786681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D9534956-1BE7-2522-3124-C29075A593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F4C62A7C-B66E-E9B6-9499-CEFF1382B60D}"/>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0CEB0579-AA8B-099D-6ED5-ED6E8B1C10E9}"/>
              </a:ext>
            </a:extLst>
          </p:cNvPr>
          <p:cNvSpPr>
            <a:spLocks noGrp="1"/>
          </p:cNvSpPr>
          <p:nvPr>
            <p:ph sz="quarter" idx="42" hasCustomPrompt="1"/>
          </p:nvPr>
        </p:nvSpPr>
        <p:spPr>
          <a:xfrm>
            <a:off x="152400" y="1482211"/>
            <a:ext cx="5921147" cy="3074291"/>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16DA46E9-BA29-D1F5-D08E-245873FD9BC1}"/>
              </a:ext>
            </a:extLst>
          </p:cNvPr>
          <p:cNvSpPr>
            <a:spLocks noGrp="1"/>
          </p:cNvSpPr>
          <p:nvPr>
            <p:ph type="body" idx="43" hasCustomPrompt="1"/>
          </p:nvPr>
        </p:nvSpPr>
        <p:spPr>
          <a:xfrm>
            <a:off x="152400" y="4435850"/>
            <a:ext cx="5921145"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185010EC-4A62-C2C3-328D-F64E9E97EE77}"/>
              </a:ext>
            </a:extLst>
          </p:cNvPr>
          <p:cNvSpPr>
            <a:spLocks noGrp="1"/>
          </p:cNvSpPr>
          <p:nvPr>
            <p:ph sz="quarter" idx="44" hasCustomPrompt="1"/>
          </p:nvPr>
        </p:nvSpPr>
        <p:spPr>
          <a:xfrm>
            <a:off x="6464078" y="1482211"/>
            <a:ext cx="2530570"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733CE6C6-11A8-ABD7-EC7C-516433B7E1E1}"/>
              </a:ext>
            </a:extLst>
          </p:cNvPr>
          <p:cNvSpPr>
            <a:spLocks noGrp="1"/>
          </p:cNvSpPr>
          <p:nvPr>
            <p:ph type="body" idx="45" hasCustomPrompt="1"/>
          </p:nvPr>
        </p:nvSpPr>
        <p:spPr>
          <a:xfrm>
            <a:off x="6464075" y="4435850"/>
            <a:ext cx="2530573"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AF90F446-2763-054A-143C-237A59E876DB}"/>
              </a:ext>
            </a:extLst>
          </p:cNvPr>
          <p:cNvSpPr>
            <a:spLocks noGrp="1"/>
          </p:cNvSpPr>
          <p:nvPr>
            <p:ph type="body" idx="20" hasCustomPrompt="1"/>
          </p:nvPr>
        </p:nvSpPr>
        <p:spPr>
          <a:xfrm>
            <a:off x="152400" y="1230212"/>
            <a:ext cx="592114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F96935D9-3048-3FA1-9D4F-D345FD79FE1A}"/>
              </a:ext>
            </a:extLst>
          </p:cNvPr>
          <p:cNvSpPr>
            <a:spLocks noGrp="1"/>
          </p:cNvSpPr>
          <p:nvPr>
            <p:ph type="body" idx="46" hasCustomPrompt="1"/>
          </p:nvPr>
        </p:nvSpPr>
        <p:spPr>
          <a:xfrm>
            <a:off x="6464075" y="1230212"/>
            <a:ext cx="2530573"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4144409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74251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B67FD59A-1FA6-0CB0-586B-90EFABE40C7B}"/>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3E154E2-4401-C66E-1530-2192A4370683}"/>
              </a:ext>
            </a:extLst>
          </p:cNvPr>
          <p:cNvSpPr>
            <a:spLocks noGrp="1"/>
          </p:cNvSpPr>
          <p:nvPr>
            <p:ph type="title" hasCustomPrompt="1"/>
          </p:nvPr>
        </p:nvSpPr>
        <p:spPr>
          <a:xfrm>
            <a:off x="152400" y="447675"/>
            <a:ext cx="8842248" cy="33511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9583CA01-CA07-98C1-EA23-E85B7151658F}"/>
              </a:ext>
            </a:extLst>
          </p:cNvPr>
          <p:cNvSpPr>
            <a:spLocks noGrp="1"/>
          </p:cNvSpPr>
          <p:nvPr>
            <p:ph sz="quarter" idx="42" hasCustomPrompt="1"/>
          </p:nvPr>
        </p:nvSpPr>
        <p:spPr>
          <a:xfrm>
            <a:off x="152400" y="1482212"/>
            <a:ext cx="2793876" cy="3069152"/>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57239B10-F4A1-1B29-704C-41EF9BED290D}"/>
              </a:ext>
            </a:extLst>
          </p:cNvPr>
          <p:cNvSpPr>
            <a:spLocks noGrp="1"/>
          </p:cNvSpPr>
          <p:nvPr>
            <p:ph type="body" idx="43" hasCustomPrompt="1"/>
          </p:nvPr>
        </p:nvSpPr>
        <p:spPr>
          <a:xfrm>
            <a:off x="152400" y="4435850"/>
            <a:ext cx="2793876"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Content Placeholder 7">
            <a:extLst>
              <a:ext uri="{FF2B5EF4-FFF2-40B4-BE49-F238E27FC236}">
                <a16:creationId xmlns:a16="http://schemas.microsoft.com/office/drawing/2014/main" id="{BBD8C839-2F75-E116-02B4-75EA174F6AB1}"/>
              </a:ext>
            </a:extLst>
          </p:cNvPr>
          <p:cNvSpPr>
            <a:spLocks noGrp="1"/>
          </p:cNvSpPr>
          <p:nvPr>
            <p:ph sz="quarter" idx="44" hasCustomPrompt="1"/>
          </p:nvPr>
        </p:nvSpPr>
        <p:spPr>
          <a:xfrm>
            <a:off x="3176586" y="1482211"/>
            <a:ext cx="2793876"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9" name="Text Placeholder 8">
            <a:extLst>
              <a:ext uri="{FF2B5EF4-FFF2-40B4-BE49-F238E27FC236}">
                <a16:creationId xmlns:a16="http://schemas.microsoft.com/office/drawing/2014/main" id="{412D0765-4921-4117-DFC8-911CF0992C40}"/>
              </a:ext>
            </a:extLst>
          </p:cNvPr>
          <p:cNvSpPr>
            <a:spLocks noGrp="1"/>
          </p:cNvSpPr>
          <p:nvPr>
            <p:ph type="body" idx="45" hasCustomPrompt="1"/>
          </p:nvPr>
        </p:nvSpPr>
        <p:spPr>
          <a:xfrm>
            <a:off x="3176586" y="4435850"/>
            <a:ext cx="2793876"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860B4F30-E74A-970A-7D6F-5EECE241248F}"/>
              </a:ext>
            </a:extLst>
          </p:cNvPr>
          <p:cNvSpPr>
            <a:spLocks noGrp="1"/>
          </p:cNvSpPr>
          <p:nvPr>
            <p:ph type="body" idx="20" hasCustomPrompt="1"/>
          </p:nvPr>
        </p:nvSpPr>
        <p:spPr>
          <a:xfrm>
            <a:off x="152400"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0CE625C3-B6E1-0EC4-BEA9-46CDABB50BC3}"/>
              </a:ext>
            </a:extLst>
          </p:cNvPr>
          <p:cNvSpPr>
            <a:spLocks noGrp="1"/>
          </p:cNvSpPr>
          <p:nvPr>
            <p:ph type="body" idx="46" hasCustomPrompt="1"/>
          </p:nvPr>
        </p:nvSpPr>
        <p:spPr>
          <a:xfrm>
            <a:off x="3176586"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DA9118E2-425D-DC4A-C0AB-3634BD568655}"/>
              </a:ext>
            </a:extLst>
          </p:cNvPr>
          <p:cNvSpPr>
            <a:spLocks noGrp="1"/>
          </p:cNvSpPr>
          <p:nvPr>
            <p:ph sz="quarter" idx="47" hasCustomPrompt="1"/>
          </p:nvPr>
        </p:nvSpPr>
        <p:spPr>
          <a:xfrm>
            <a:off x="6200772" y="1482211"/>
            <a:ext cx="2793876"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CCD58317-B7DC-6F7B-9C30-C18181FFC9C7}"/>
              </a:ext>
            </a:extLst>
          </p:cNvPr>
          <p:cNvSpPr>
            <a:spLocks noGrp="1"/>
          </p:cNvSpPr>
          <p:nvPr>
            <p:ph type="body" idx="48" hasCustomPrompt="1"/>
          </p:nvPr>
        </p:nvSpPr>
        <p:spPr>
          <a:xfrm>
            <a:off x="6200772" y="4435850"/>
            <a:ext cx="2793876"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4" name="Text Placeholder 8">
            <a:extLst>
              <a:ext uri="{FF2B5EF4-FFF2-40B4-BE49-F238E27FC236}">
                <a16:creationId xmlns:a16="http://schemas.microsoft.com/office/drawing/2014/main" id="{118842C3-CC13-02FB-1BCA-4B0C1D7F3C71}"/>
              </a:ext>
            </a:extLst>
          </p:cNvPr>
          <p:cNvSpPr>
            <a:spLocks noGrp="1"/>
          </p:cNvSpPr>
          <p:nvPr>
            <p:ph type="body" idx="49" hasCustomPrompt="1"/>
          </p:nvPr>
        </p:nvSpPr>
        <p:spPr>
          <a:xfrm>
            <a:off x="6200772"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56546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434340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16" name="Content Placeholder 7">
            <a:extLst>
              <a:ext uri="{FF2B5EF4-FFF2-40B4-BE49-F238E27FC236}">
                <a16:creationId xmlns:a16="http://schemas.microsoft.com/office/drawing/2014/main" id="{3F1BFBA0-709D-960B-CD1B-3AA3BE48520C}"/>
              </a:ext>
            </a:extLst>
          </p:cNvPr>
          <p:cNvSpPr>
            <a:spLocks noGrp="1"/>
          </p:cNvSpPr>
          <p:nvPr>
            <p:ph sz="quarter" idx="44" hasCustomPrompt="1"/>
          </p:nvPr>
        </p:nvSpPr>
        <p:spPr>
          <a:xfrm>
            <a:off x="4651248" y="148221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2E0722D7-4BC3-B641-FCA1-3F51404614AD}"/>
              </a:ext>
            </a:extLst>
          </p:cNvPr>
          <p:cNvSpPr>
            <a:spLocks noGrp="1"/>
          </p:cNvSpPr>
          <p:nvPr>
            <p:ph type="body" idx="45" hasCustomPrompt="1"/>
          </p:nvPr>
        </p:nvSpPr>
        <p:spPr>
          <a:xfrm>
            <a:off x="4651248" y="2661302"/>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6884D9D7-37F9-263D-44EF-EAB8987E11AF}"/>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434340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4" name="Content Placeholder 7">
            <a:extLst>
              <a:ext uri="{FF2B5EF4-FFF2-40B4-BE49-F238E27FC236}">
                <a16:creationId xmlns:a16="http://schemas.microsoft.com/office/drawing/2014/main" id="{9CE331B2-C1F9-1CAC-0674-0117FD4C0D3E}"/>
              </a:ext>
            </a:extLst>
          </p:cNvPr>
          <p:cNvSpPr>
            <a:spLocks noGrp="1"/>
          </p:cNvSpPr>
          <p:nvPr>
            <p:ph sz="quarter" idx="49" hasCustomPrompt="1"/>
          </p:nvPr>
        </p:nvSpPr>
        <p:spPr>
          <a:xfrm>
            <a:off x="4651248" y="325386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8" name="Text Placeholder 8">
            <a:extLst>
              <a:ext uri="{FF2B5EF4-FFF2-40B4-BE49-F238E27FC236}">
                <a16:creationId xmlns:a16="http://schemas.microsoft.com/office/drawing/2014/main" id="{5DEE7DDA-10FF-6248-473E-B014172CA396}"/>
              </a:ext>
            </a:extLst>
          </p:cNvPr>
          <p:cNvSpPr>
            <a:spLocks noGrp="1"/>
          </p:cNvSpPr>
          <p:nvPr>
            <p:ph type="body" idx="50" hasCustomPrompt="1"/>
          </p:nvPr>
        </p:nvSpPr>
        <p:spPr>
          <a:xfrm>
            <a:off x="4651248" y="4435851"/>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30" name="Text Placeholder 8">
            <a:extLst>
              <a:ext uri="{FF2B5EF4-FFF2-40B4-BE49-F238E27FC236}">
                <a16:creationId xmlns:a16="http://schemas.microsoft.com/office/drawing/2014/main" id="{E3B40A07-6DE9-8D89-F23C-19C208E2E734}"/>
              </a:ext>
            </a:extLst>
          </p:cNvPr>
          <p:cNvSpPr>
            <a:spLocks noGrp="1"/>
          </p:cNvSpPr>
          <p:nvPr>
            <p:ph type="body" idx="52" hasCustomPrompt="1"/>
          </p:nvPr>
        </p:nvSpPr>
        <p:spPr>
          <a:xfrm>
            <a:off x="4651248"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40756427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 half slide vertic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115788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1 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7335730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8" name="Text Placeholder 8">
            <a:extLst>
              <a:ext uri="{FF2B5EF4-FFF2-40B4-BE49-F238E27FC236}">
                <a16:creationId xmlns:a16="http://schemas.microsoft.com/office/drawing/2014/main" id="{1DF9F172-924B-D701-F810-5AAB2E024A78}"/>
              </a:ext>
            </a:extLst>
          </p:cNvPr>
          <p:cNvSpPr>
            <a:spLocks noGrp="1"/>
          </p:cNvSpPr>
          <p:nvPr>
            <p:ph type="body" idx="20" hasCustomPrompt="1"/>
          </p:nvPr>
        </p:nvSpPr>
        <p:spPr>
          <a:xfrm>
            <a:off x="152400" y="1314451"/>
            <a:ext cx="54957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0" name="Text Placeholder 29">
            <a:extLst>
              <a:ext uri="{FF2B5EF4-FFF2-40B4-BE49-F238E27FC236}">
                <a16:creationId xmlns:a16="http://schemas.microsoft.com/office/drawing/2014/main" id="{E74ADD21-8F8F-E97C-19FA-E1390C5CDF3D}"/>
              </a:ext>
            </a:extLst>
          </p:cNvPr>
          <p:cNvSpPr>
            <a:spLocks noGrp="1"/>
          </p:cNvSpPr>
          <p:nvPr>
            <p:ph type="body" sz="quarter" idx="27"/>
          </p:nvPr>
        </p:nvSpPr>
        <p:spPr>
          <a:xfrm>
            <a:off x="152400" y="1771650"/>
            <a:ext cx="5495700"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F2332DF6-B59F-D14A-CD17-1BE68794FBEF}"/>
              </a:ext>
            </a:extLst>
          </p:cNvPr>
          <p:cNvSpPr>
            <a:spLocks noGrp="1"/>
          </p:cNvSpPr>
          <p:nvPr>
            <p:ph type="body" idx="28" hasCustomPrompt="1"/>
          </p:nvPr>
        </p:nvSpPr>
        <p:spPr>
          <a:xfrm>
            <a:off x="6122263" y="1314451"/>
            <a:ext cx="286933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4" name="Text Placeholder 29">
            <a:extLst>
              <a:ext uri="{FF2B5EF4-FFF2-40B4-BE49-F238E27FC236}">
                <a16:creationId xmlns:a16="http://schemas.microsoft.com/office/drawing/2014/main" id="{7E6AAA45-AE21-8E78-A665-BA4517F12286}"/>
              </a:ext>
            </a:extLst>
          </p:cNvPr>
          <p:cNvSpPr>
            <a:spLocks noGrp="1"/>
          </p:cNvSpPr>
          <p:nvPr>
            <p:ph type="body" sz="quarter" idx="29"/>
          </p:nvPr>
        </p:nvSpPr>
        <p:spPr>
          <a:xfrm>
            <a:off x="6122262" y="1771650"/>
            <a:ext cx="2869337" cy="2779711"/>
          </a:xfrm>
        </p:spPr>
        <p:txBody>
          <a:bodyPr lIns="0" tIns="0" rIns="0" bIns="0">
            <a:noAutofit/>
          </a:bodyPr>
          <a:lstStyle>
            <a:lvl1pPr>
              <a:buClr>
                <a:schemeClr val="tx2"/>
              </a:buClr>
              <a:defRPr/>
            </a:lvl1pPr>
            <a:lvl2pPr>
              <a:defRPr/>
            </a:lvl2pPr>
            <a:lvl3pPr>
              <a:buSzPct val="110000"/>
              <a:defRPr/>
            </a:lvl3pPr>
          </a:lstStyle>
          <a:p>
            <a:pPr lvl="0"/>
            <a:r>
              <a:rPr lang="en-GB" dirty="0"/>
              <a:t>Click to edit Master text styles</a:t>
            </a:r>
          </a:p>
          <a:p>
            <a:pPr lvl="1"/>
            <a:r>
              <a:rPr lang="en-GB" dirty="0"/>
              <a:t>Second level</a:t>
            </a:r>
          </a:p>
        </p:txBody>
      </p:sp>
      <p:sp>
        <p:nvSpPr>
          <p:cNvPr id="11" name="Text Placeholder 29">
            <a:extLst>
              <a:ext uri="{FF2B5EF4-FFF2-40B4-BE49-F238E27FC236}">
                <a16:creationId xmlns:a16="http://schemas.microsoft.com/office/drawing/2014/main" id="{826E2641-9902-8A4F-78AD-66BA835557C8}"/>
              </a:ext>
            </a:extLst>
          </p:cNvPr>
          <p:cNvSpPr>
            <a:spLocks noGrp="1"/>
          </p:cNvSpPr>
          <p:nvPr>
            <p:ph type="body" sz="quarter" idx="30"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1140469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8881044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Position</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Nam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hasCustomPrompt="1"/>
          </p:nvPr>
        </p:nvSpPr>
        <p:spPr>
          <a:xfrm>
            <a:off x="6819254" y="2772351"/>
            <a:ext cx="2175394" cy="167675"/>
          </a:xfrm>
        </p:spPr>
        <p:txBody>
          <a:bodyPr wrap="square" lIns="0" tIns="0" rIns="0" bIns="0" anchor="b">
            <a:spAutoFit/>
          </a:bodyPr>
          <a:lstStyle>
            <a:lvl1pPr marL="0" indent="0">
              <a:buNone/>
              <a:defRPr sz="1000"/>
            </a:lvl1pPr>
            <a:lvl3pPr>
              <a:buSzPct val="110000"/>
              <a:defRPr/>
            </a:lvl3pPr>
          </a:lstStyle>
          <a:p>
            <a:pPr lvl="0"/>
            <a:r>
              <a:rPr lang="en-GB" dirty="0"/>
              <a:t>Email</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hasCustomPrompt="1"/>
          </p:nvPr>
        </p:nvSpPr>
        <p:spPr>
          <a:xfrm>
            <a:off x="152400" y="1635071"/>
            <a:ext cx="6309360" cy="2916291"/>
          </a:xfrm>
        </p:spPr>
        <p:txBody>
          <a:bodyPr lIns="0" tIns="0" rIns="0" bIns="0">
            <a:noAutofit/>
          </a:bodyPr>
          <a:lstStyle>
            <a:lvl1pPr marL="0" indent="0">
              <a:buNone/>
              <a:defRPr/>
            </a:lvl1pPr>
            <a:lvl2pPr marL="252000" indent="0">
              <a:buNone/>
              <a:defRPr/>
            </a:lvl2pPr>
            <a:lvl3pPr>
              <a:buSzPct val="110000"/>
              <a:defRPr/>
            </a:lvl3pPr>
          </a:lstStyle>
          <a:p>
            <a:pPr lvl="0"/>
            <a:r>
              <a:rPr lang="en-GB" dirty="0"/>
              <a:t>Click here to add text</a:t>
            </a:r>
          </a:p>
        </p:txBody>
      </p:sp>
      <p:sp>
        <p:nvSpPr>
          <p:cNvPr id="12" name="Text Placeholder 8">
            <a:extLst>
              <a:ext uri="{FF2B5EF4-FFF2-40B4-BE49-F238E27FC236}">
                <a16:creationId xmlns:a16="http://schemas.microsoft.com/office/drawing/2014/main" id="{29BBC906-6153-7DEB-AF17-E06AC5AE9F71}"/>
              </a:ext>
            </a:extLst>
          </p:cNvPr>
          <p:cNvSpPr>
            <a:spLocks noGrp="1"/>
          </p:cNvSpPr>
          <p:nvPr>
            <p:ph type="body" idx="20" hasCustomPrompt="1"/>
          </p:nvPr>
        </p:nvSpPr>
        <p:spPr>
          <a:xfrm>
            <a:off x="152400" y="1230212"/>
            <a:ext cx="5682712"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Biography</a:t>
            </a:r>
          </a:p>
        </p:txBody>
      </p:sp>
      <p:cxnSp>
        <p:nvCxnSpPr>
          <p:cNvPr id="13" name="Straight Connector 12">
            <a:extLst>
              <a:ext uri="{FF2B5EF4-FFF2-40B4-BE49-F238E27FC236}">
                <a16:creationId xmlns:a16="http://schemas.microsoft.com/office/drawing/2014/main" id="{990609C1-9B65-F554-096A-57353CFD27BF}"/>
              </a:ext>
            </a:extLst>
          </p:cNvPr>
          <p:cNvCxnSpPr>
            <a:cxnSpLocks/>
          </p:cNvCxnSpPr>
          <p:nvPr userDrawn="1"/>
        </p:nvCxnSpPr>
        <p:spPr>
          <a:xfrm>
            <a:off x="152400" y="1529400"/>
            <a:ext cx="6313846"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8">
            <a:extLst>
              <a:ext uri="{FF2B5EF4-FFF2-40B4-BE49-F238E27FC236}">
                <a16:creationId xmlns:a16="http://schemas.microsoft.com/office/drawing/2014/main" id="{2F6F70D8-B909-D2D3-D886-1279F1DB967B}"/>
              </a:ext>
            </a:extLst>
          </p:cNvPr>
          <p:cNvSpPr>
            <a:spLocks noGrp="1"/>
          </p:cNvSpPr>
          <p:nvPr>
            <p:ph type="body" idx="47" hasCustomPrompt="1"/>
          </p:nvPr>
        </p:nvSpPr>
        <p:spPr>
          <a:xfrm>
            <a:off x="6819254" y="1230212"/>
            <a:ext cx="2175394" cy="211130"/>
          </a:xfrm>
          <a:prstGeom prst="rect">
            <a:avLst/>
          </a:prstGeom>
        </p:spPr>
        <p:txBody>
          <a:bodyPr lIns="0" tIns="0" rIns="0" bIns="0" anchor="t">
            <a:noAutofit/>
          </a:bodyPr>
          <a:lstStyle>
            <a:lvl1pPr marL="0" indent="0">
              <a:lnSpc>
                <a:spcPct val="90000"/>
              </a:lnSpc>
              <a:buNone/>
              <a:defRPr sz="1100" b="0">
                <a:solidFill>
                  <a:schemeClr val="tx1"/>
                </a:solidFill>
              </a:defRPr>
            </a:lvl1pPr>
          </a:lstStyle>
          <a:p>
            <a:r>
              <a:rPr lang="en-GB" dirty="0"/>
              <a:t>Connect with First Name</a:t>
            </a:r>
          </a:p>
        </p:txBody>
      </p:sp>
      <p:sp>
        <p:nvSpPr>
          <p:cNvPr id="21" name="Content Placeholder 7">
            <a:extLst>
              <a:ext uri="{FF2B5EF4-FFF2-40B4-BE49-F238E27FC236}">
                <a16:creationId xmlns:a16="http://schemas.microsoft.com/office/drawing/2014/main" id="{ACBD58E7-E35D-A1A0-5347-004E3C496B95}"/>
              </a:ext>
            </a:extLst>
          </p:cNvPr>
          <p:cNvSpPr>
            <a:spLocks noGrp="1"/>
          </p:cNvSpPr>
          <p:nvPr>
            <p:ph sz="quarter" idx="48" hasCustomPrompt="1"/>
          </p:nvPr>
        </p:nvSpPr>
        <p:spPr>
          <a:xfrm>
            <a:off x="6819254" y="3309463"/>
            <a:ext cx="2175394" cy="167675"/>
          </a:xfrm>
        </p:spPr>
        <p:txBody>
          <a:bodyPr wrap="square" lIns="0" tIns="0" rIns="0" bIns="0" anchor="b">
            <a:spAutoFit/>
          </a:bodyPr>
          <a:lstStyle>
            <a:lvl1pPr marL="0" indent="0">
              <a:buNone/>
              <a:defRPr sz="1000"/>
            </a:lvl1pPr>
            <a:lvl3pPr>
              <a:buSzPct val="110000"/>
              <a:defRPr/>
            </a:lvl3pPr>
          </a:lstStyle>
          <a:p>
            <a:pPr lvl="0"/>
            <a:r>
              <a:rPr lang="en-GB" dirty="0"/>
              <a:t>Phone Number</a:t>
            </a:r>
          </a:p>
        </p:txBody>
      </p:sp>
      <p:sp>
        <p:nvSpPr>
          <p:cNvPr id="22" name="Content Placeholder 7">
            <a:extLst>
              <a:ext uri="{FF2B5EF4-FFF2-40B4-BE49-F238E27FC236}">
                <a16:creationId xmlns:a16="http://schemas.microsoft.com/office/drawing/2014/main" id="{215070D9-6203-FFAD-C0C6-FA9490ED038C}"/>
              </a:ext>
            </a:extLst>
          </p:cNvPr>
          <p:cNvSpPr>
            <a:spLocks noGrp="1"/>
          </p:cNvSpPr>
          <p:nvPr>
            <p:ph sz="quarter" idx="49" hasCustomPrompt="1"/>
          </p:nvPr>
        </p:nvSpPr>
        <p:spPr>
          <a:xfrm>
            <a:off x="6819254" y="3846575"/>
            <a:ext cx="2175394" cy="167675"/>
          </a:xfrm>
        </p:spPr>
        <p:txBody>
          <a:bodyPr wrap="square" lIns="0" tIns="0" rIns="0" bIns="0" anchor="b">
            <a:spAutoFit/>
          </a:bodyPr>
          <a:lstStyle>
            <a:lvl1pPr marL="0" indent="0">
              <a:buNone/>
              <a:defRPr sz="1000"/>
            </a:lvl1pPr>
            <a:lvl3pPr>
              <a:buSzPct val="110000"/>
              <a:defRPr/>
            </a:lvl3pPr>
          </a:lstStyle>
          <a:p>
            <a:pPr lvl="0"/>
            <a:r>
              <a:rPr lang="en-GB" dirty="0"/>
              <a:t>Mobile Number (Optional)</a:t>
            </a:r>
          </a:p>
        </p:txBody>
      </p:sp>
      <p:sp>
        <p:nvSpPr>
          <p:cNvPr id="23" name="Content Placeholder 7">
            <a:extLst>
              <a:ext uri="{FF2B5EF4-FFF2-40B4-BE49-F238E27FC236}">
                <a16:creationId xmlns:a16="http://schemas.microsoft.com/office/drawing/2014/main" id="{3C99B039-121C-22E6-C7AA-53178D3FE62A}"/>
              </a:ext>
            </a:extLst>
          </p:cNvPr>
          <p:cNvSpPr>
            <a:spLocks noGrp="1"/>
          </p:cNvSpPr>
          <p:nvPr>
            <p:ph sz="quarter" idx="50" hasCustomPrompt="1"/>
          </p:nvPr>
        </p:nvSpPr>
        <p:spPr>
          <a:xfrm>
            <a:off x="6819254" y="4383688"/>
            <a:ext cx="2175394" cy="167675"/>
          </a:xfrm>
        </p:spPr>
        <p:txBody>
          <a:bodyPr wrap="square" lIns="0" tIns="0" rIns="0" bIns="0" anchor="b">
            <a:spAutoFit/>
          </a:bodyPr>
          <a:lstStyle>
            <a:lvl1pPr marL="0" indent="0">
              <a:buNone/>
              <a:defRPr sz="1000"/>
            </a:lvl1pPr>
            <a:lvl3pPr>
              <a:buSzPct val="110000"/>
              <a:defRPr/>
            </a:lvl3pPr>
          </a:lstStyle>
          <a:p>
            <a:pPr lvl="0"/>
            <a:r>
              <a:rPr lang="en-GB" dirty="0"/>
              <a:t>Social Media Name (Optional)</a:t>
            </a:r>
          </a:p>
        </p:txBody>
      </p:sp>
      <p:sp>
        <p:nvSpPr>
          <p:cNvPr id="25" name="Picture Placeholder 24">
            <a:extLst>
              <a:ext uri="{FF2B5EF4-FFF2-40B4-BE49-F238E27FC236}">
                <a16:creationId xmlns:a16="http://schemas.microsoft.com/office/drawing/2014/main" id="{C56D3479-F5A3-1A34-FE55-67F90539BAED}"/>
              </a:ext>
            </a:extLst>
          </p:cNvPr>
          <p:cNvSpPr>
            <a:spLocks noGrp="1" noChangeAspect="1"/>
          </p:cNvSpPr>
          <p:nvPr>
            <p:ph type="pic" sz="quarter" idx="51" hasCustomPrompt="1"/>
          </p:nvPr>
        </p:nvSpPr>
        <p:spPr>
          <a:xfrm>
            <a:off x="6819253" y="1529400"/>
            <a:ext cx="922150" cy="928553"/>
          </a:xfrm>
          <a:ln>
            <a:solidFill>
              <a:schemeClr val="tx2"/>
            </a:solidFill>
          </a:ln>
        </p:spPr>
        <p:txBody>
          <a:bodyPr/>
          <a:lstStyle>
            <a:lvl1pPr marL="0" indent="0">
              <a:buNone/>
              <a:defRPr/>
            </a:lvl1pPr>
          </a:lstStyle>
          <a:p>
            <a:r>
              <a:rPr lang="en-US" dirty="0"/>
              <a:t>Click to add photo </a:t>
            </a:r>
          </a:p>
          <a:p>
            <a:r>
              <a:rPr lang="en-US" dirty="0"/>
              <a:t>256px X 256px</a:t>
            </a:r>
          </a:p>
          <a:p>
            <a:endParaRPr lang="en-US" dirty="0"/>
          </a:p>
        </p:txBody>
      </p:sp>
    </p:spTree>
    <p:extLst>
      <p:ext uri="{BB962C8B-B14F-4D97-AF65-F5344CB8AC3E}">
        <p14:creationId xmlns:p14="http://schemas.microsoft.com/office/powerpoint/2010/main" val="11536399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sclaimer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66668A-86B3-4BAC-9FE9-BA595DE796AE}"/>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6" name="Rectangle 15"/>
          <p:cNvSpPr/>
          <p:nvPr userDrawn="1"/>
        </p:nvSpPr>
        <p:spPr>
          <a:xfrm>
            <a:off x="152400" y="904747"/>
            <a:ext cx="4232592" cy="3462551"/>
          </a:xfrm>
          <a:prstGeom prst="rect">
            <a:avLst/>
          </a:prstGeom>
        </p:spPr>
        <p:txBody>
          <a:bodyPr wrap="square" lIns="0" tIns="0" rIns="0" bIns="0">
            <a:spAutoFit/>
          </a:bodyPr>
          <a:lstStyle/>
          <a:p>
            <a:pPr>
              <a:lnSpc>
                <a:spcPct val="120000"/>
              </a:lnSpc>
              <a:spcAft>
                <a:spcPts val="1200"/>
              </a:spcAft>
            </a:pPr>
            <a:r>
              <a:rPr lang="en-US" sz="900" b="0" baseline="0" noProof="0" dirty="0">
                <a:solidFill>
                  <a:schemeClr val="tx1"/>
                </a:solidFill>
                <a:latin typeface="Arial" panose="020B0604020202020204" pitchFamily="34" charset="0"/>
                <a:cs typeface="Arial" panose="020B0604020202020204" pitchFamily="34" charset="0"/>
              </a:rPr>
              <a:t>These materials, including any updates to them, are published by and remain subject to the copyright of the Wood Mackenzie group ("Wood Mackenzie"),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or its third-party licensors (“Licensors”) as relevant, and are made available to clients of Wood Mackenzie under terms agreed between Wood Mackenzie and those clients. The use of these materials is governed by the terms and conditions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of the agreement under which they were provided. The content and conclusions contained are confidential and may not be disclosed to any other person without Wood Mackenzie's prior written permission. Wood Mackenzie makes no warranty or representation about the accuracy or completeness of the information and data contained in these materials, which are provided 'as is'. The opinions expressed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in these materials are those of Wood Mackenzie, and do not necessarily represent our Licensors’ position or views. Nothing contained in them constitutes an offer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to buy or to sell securities, or investment advice. Wood Mackenzie's products do not provide a comprehensive analysis of the financial position or prospects of any company or entity and nothing in any such product should be taken as comment regarding the value of the securities of any entity. If, notwithstanding the foregoing, you or any other person relies upon these materials in any way, Wood Mackenzie does not accept, and hereby disclaims to the extent permitted by law, all liability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for any loss and damage suffered arising in connection with such reliance.</a:t>
            </a:r>
          </a:p>
          <a:p>
            <a:pPr>
              <a:lnSpc>
                <a:spcPct val="120000"/>
              </a:lnSpc>
              <a:spcAft>
                <a:spcPts val="1200"/>
              </a:spcAft>
            </a:pPr>
            <a:r>
              <a:rPr lang="en-US" sz="900" b="0" baseline="0" noProof="0" dirty="0">
                <a:solidFill>
                  <a:schemeClr val="tx1"/>
                </a:solidFill>
                <a:latin typeface="Arial" panose="020B0604020202020204" pitchFamily="34" charset="0"/>
                <a:cs typeface="Arial" panose="020B0604020202020204" pitchFamily="34" charset="0"/>
              </a:rPr>
              <a:t>Copyright © 2023, Wood Mackenzie Limited. All rights reserved.</a:t>
            </a:r>
          </a:p>
        </p:txBody>
      </p:sp>
      <p:sp>
        <p:nvSpPr>
          <p:cNvPr id="8" name="Rectangle 7">
            <a:extLst>
              <a:ext uri="{FF2B5EF4-FFF2-40B4-BE49-F238E27FC236}">
                <a16:creationId xmlns:a16="http://schemas.microsoft.com/office/drawing/2014/main" id="{DFB9A336-B39C-26A2-6D81-6A765A1049EA}"/>
              </a:ext>
            </a:extLst>
          </p:cNvPr>
          <p:cNvSpPr/>
          <p:nvPr userDrawn="1"/>
        </p:nvSpPr>
        <p:spPr>
          <a:xfrm>
            <a:off x="152400" y="402335"/>
            <a:ext cx="1096161" cy="262829"/>
          </a:xfrm>
          <a:prstGeom prst="rect">
            <a:avLst/>
          </a:prstGeom>
        </p:spPr>
        <p:txBody>
          <a:bodyPr wrap="square" lIns="0" tIns="0" rIns="0" bIns="0">
            <a:spAutoFit/>
          </a:bodyPr>
          <a:lstStyle/>
          <a:p>
            <a:pPr>
              <a:lnSpc>
                <a:spcPct val="113000"/>
              </a:lnSpc>
              <a:spcAft>
                <a:spcPts val="1200"/>
              </a:spcAft>
            </a:pPr>
            <a:r>
              <a:rPr lang="en-GB" sz="1600" b="0" baseline="0" dirty="0">
                <a:solidFill>
                  <a:schemeClr val="tx2"/>
                </a:solidFill>
                <a:latin typeface="Arial" panose="020B0604020202020204" pitchFamily="34" charset="0"/>
                <a:cs typeface="Arial" panose="020B0604020202020204" pitchFamily="34" charset="0"/>
              </a:rPr>
              <a:t>Disclaimer</a:t>
            </a:r>
          </a:p>
        </p:txBody>
      </p:sp>
      <p:sp>
        <p:nvSpPr>
          <p:cNvPr id="5" name="Slide Number Placeholder 8">
            <a:extLst>
              <a:ext uri="{FF2B5EF4-FFF2-40B4-BE49-F238E27FC236}">
                <a16:creationId xmlns:a16="http://schemas.microsoft.com/office/drawing/2014/main" id="{BC7E8ACF-9243-429D-C04C-F14A825322E7}"/>
              </a:ext>
            </a:extLst>
          </p:cNvPr>
          <p:cNvSpPr>
            <a:spLocks noGrp="1"/>
          </p:cNvSpPr>
          <p:nvPr>
            <p:ph type="sldNum" sz="quarter" idx="16"/>
          </p:nvPr>
        </p:nvSpPr>
        <p:spPr>
          <a:xfrm>
            <a:off x="6927850" y="4774536"/>
            <a:ext cx="2057400" cy="197409"/>
          </a:xfrm>
        </p:spPr>
        <p:txBody>
          <a:bodyPr vert="horz" lIns="0" tIns="0" rIns="0" bIns="0" rtlCol="0" anchor="b"/>
          <a:lstStyle>
            <a:lvl1pPr>
              <a:defRPr lang="en-US" smtClean="0"/>
            </a:lvl1pPr>
          </a:lstStyle>
          <a:p>
            <a:pPr algn="r"/>
            <a:fld id="{CC6EE8D8-BDE1-7940-A77B-94F3F186491E}" type="slidenum">
              <a:rPr lang="en-US" smtClean="0"/>
              <a:pPr algn="r"/>
              <a:t>‹#›</a:t>
            </a:fld>
            <a:endParaRPr lang="en-US" dirty="0"/>
          </a:p>
        </p:txBody>
      </p:sp>
      <p:pic>
        <p:nvPicPr>
          <p:cNvPr id="6" name="Graphic 5">
            <a:extLst>
              <a:ext uri="{FF2B5EF4-FFF2-40B4-BE49-F238E27FC236}">
                <a16:creationId xmlns:a16="http://schemas.microsoft.com/office/drawing/2014/main" id="{6D9E3D77-14CE-0AF2-091C-65F1AC4CF7C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735436331"/>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 Statement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92666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pic>
        <p:nvPicPr>
          <p:cNvPr id="5" name="Graphic 4">
            <a:extLst>
              <a:ext uri="{FF2B5EF4-FFF2-40B4-BE49-F238E27FC236}">
                <a16:creationId xmlns:a16="http://schemas.microsoft.com/office/drawing/2014/main" id="{7A669677-5229-483C-DC7A-5C4C03762DB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3" name="Text Placeholder 29">
            <a:extLst>
              <a:ext uri="{FF2B5EF4-FFF2-40B4-BE49-F238E27FC236}">
                <a16:creationId xmlns:a16="http://schemas.microsoft.com/office/drawing/2014/main" id="{90FF8DB4-A32B-565C-E3BC-94A5B6EB581E}"/>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Title 1">
            <a:extLst>
              <a:ext uri="{FF2B5EF4-FFF2-40B4-BE49-F238E27FC236}">
                <a16:creationId xmlns:a16="http://schemas.microsoft.com/office/drawing/2014/main" id="{DE135D43-779D-8399-B7C3-9E8FC96C6942}"/>
              </a:ext>
            </a:extLst>
          </p:cNvPr>
          <p:cNvSpPr>
            <a:spLocks noGrp="1"/>
          </p:cNvSpPr>
          <p:nvPr>
            <p:ph type="title" hasCustomPrompt="1"/>
          </p:nvPr>
        </p:nvSpPr>
        <p:spPr>
          <a:xfrm>
            <a:off x="152400" y="1932879"/>
            <a:ext cx="8832850" cy="858910"/>
          </a:xfrm>
        </p:spPr>
        <p:txBody>
          <a:bodyPr vert="horz" tIns="0" rIns="0" anchor="b" anchorCtr="0"/>
          <a:lstStyle>
            <a:lvl1pPr algn="ctr">
              <a:defRPr sz="6600">
                <a:solidFill>
                  <a:schemeClr val="tx2"/>
                </a:solidFill>
              </a:defRPr>
            </a:lvl1pPr>
          </a:lstStyle>
          <a:p>
            <a:r>
              <a:rPr lang="en-GB" dirty="0"/>
              <a:t>Q&amp;A</a:t>
            </a:r>
          </a:p>
        </p:txBody>
      </p:sp>
      <p:sp>
        <p:nvSpPr>
          <p:cNvPr id="18" name="Rectangle 17">
            <a:extLst>
              <a:ext uri="{FF2B5EF4-FFF2-40B4-BE49-F238E27FC236}">
                <a16:creationId xmlns:a16="http://schemas.microsoft.com/office/drawing/2014/main" id="{D5DFFD9E-E921-576F-255B-A178B7ACEE8B}"/>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312631927"/>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e">
    <p:bg>
      <p:bgPr>
        <a:solidFill>
          <a:schemeClr val="tx2"/>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7874" y="2622213"/>
            <a:ext cx="4655151" cy="23292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2" name="Object 1"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1" name="Text Box 10"/>
          <p:cNvSpPr txBox="1">
            <a:spLocks noChangeArrowheads="1"/>
          </p:cNvSpPr>
          <p:nvPr userDrawn="1"/>
        </p:nvSpPr>
        <p:spPr bwMode="auto">
          <a:xfrm>
            <a:off x="355852" y="4260555"/>
            <a:ext cx="3742502" cy="719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9883" rIns="0" bIns="39883">
            <a:spAutoFit/>
          </a:bodyPr>
          <a:lstStyle/>
          <a:p>
            <a:pPr fontAlgn="base">
              <a:lnSpc>
                <a:spcPct val="105000"/>
              </a:lnSpc>
              <a:spcBef>
                <a:spcPts val="85"/>
              </a:spcBef>
              <a:spcAft>
                <a:spcPts val="426"/>
              </a:spcAft>
            </a:pPr>
            <a: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usted intelligence provider, empowering decision-makers with unique insight on the world’s natural resources. We are a leading research and consultancy business for the global energy, power and renewables, subsurface, chemicals, and metals and mining industries. </a:t>
            </a:r>
            <a:b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br>
            <a:r>
              <a:rPr lang="en-US" sz="600" b="1"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For more information visit: woodmac.com</a:t>
            </a:r>
            <a:endPar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endParaRPr>
          </a:p>
          <a:p>
            <a:pPr fontAlgn="base">
              <a:lnSpc>
                <a:spcPct val="105000"/>
              </a:lnSpc>
              <a:spcBef>
                <a:spcPts val="85"/>
              </a:spcBef>
              <a:spcAft>
                <a:spcPct val="0"/>
              </a:spcAft>
            </a:pPr>
            <a: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ademark of Wood Mackenzie Limited and is the subject of trademark registrations and/or applications in the European Community, the USA and other countries around the world.</a:t>
            </a:r>
          </a:p>
        </p:txBody>
      </p:sp>
      <p:graphicFrame>
        <p:nvGraphicFramePr>
          <p:cNvPr id="4" name="Table 3"/>
          <p:cNvGraphicFramePr>
            <a:graphicFrameLocks noGrp="1"/>
          </p:cNvGraphicFramePr>
          <p:nvPr userDrawn="1">
            <p:extLst>
              <p:ext uri="{D42A27DB-BD31-4B8C-83A1-F6EECF244321}">
                <p14:modId xmlns:p14="http://schemas.microsoft.com/office/powerpoint/2010/main" val="2630241382"/>
              </p:ext>
            </p:extLst>
          </p:nvPr>
        </p:nvGraphicFramePr>
        <p:xfrm>
          <a:off x="355852" y="3463087"/>
          <a:ext cx="3966135" cy="754380"/>
        </p:xfrm>
        <a:graphic>
          <a:graphicData uri="http://schemas.openxmlformats.org/drawingml/2006/table">
            <a:tbl>
              <a:tblPr firstRow="1" bandRow="1">
                <a:tableStyleId>{5C22544A-7EE6-4342-B048-85BDC9FD1C3A}</a:tableStyleId>
              </a:tblPr>
              <a:tblGrid>
                <a:gridCol w="911081">
                  <a:extLst>
                    <a:ext uri="{9D8B030D-6E8A-4147-A177-3AD203B41FA5}">
                      <a16:colId xmlns:a16="http://schemas.microsoft.com/office/drawing/2014/main" val="20000"/>
                    </a:ext>
                  </a:extLst>
                </a:gridCol>
                <a:gridCol w="3055054">
                  <a:extLst>
                    <a:ext uri="{9D8B030D-6E8A-4147-A177-3AD203B41FA5}">
                      <a16:colId xmlns:a16="http://schemas.microsoft.com/office/drawing/2014/main" val="20001"/>
                    </a:ext>
                  </a:extLst>
                </a:gridCol>
              </a:tblGrid>
              <a:tr h="754380">
                <a:tc>
                  <a:txBody>
                    <a:bodyPr/>
                    <a:lstStyle/>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urope</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mericas</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sia Pacific</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mail</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Website</a:t>
                      </a:r>
                    </a:p>
                  </a:txBody>
                  <a:tcPr marL="0" marR="0" marT="34290" marB="34290">
                    <a:lnL w="12700" cmpd="sng">
                      <a:noFill/>
                    </a:lnL>
                    <a:lnR w="12700" cmpd="sng">
                      <a:noFill/>
                    </a:lnR>
                    <a:lnT w="12700" cmpd="sng">
                      <a:noFill/>
                    </a:lnT>
                    <a:lnB w="38100" cmpd="sng">
                      <a:noFill/>
                    </a:lnB>
                    <a:noFill/>
                  </a:tcPr>
                </a:tc>
                <a:tc>
                  <a:txBody>
                    <a:bodyPr/>
                    <a:lstStyle/>
                    <a:p>
                      <a:r>
                        <a:rPr lang="en-GB" sz="800" b="0" dirty="0">
                          <a:latin typeface="Arial" panose="020B0604020202020204" pitchFamily="34" charset="0"/>
                          <a:ea typeface="Roboto Light" panose="02000000000000000000" pitchFamily="2" charset="0"/>
                          <a:cs typeface="Arial" panose="020B0604020202020204" pitchFamily="34" charset="0"/>
                        </a:rPr>
                        <a:t>+44 </a:t>
                      </a:r>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31 243 4477</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 713 470 1700</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65 6518 0888</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contactus@woodmac.com</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www.woodmac.com</a:t>
                      </a:r>
                    </a:p>
                  </a:txBody>
                  <a:tcPr marL="0" marR="0" marT="34290" marB="34290">
                    <a:lnL w="12700" cmpd="sng">
                      <a:noFill/>
                    </a:lnL>
                    <a:lnR w="12700" cmpd="sng">
                      <a:noFill/>
                    </a:lnR>
                    <a:lnT w="12700" cmpd="sng">
                      <a:noFill/>
                    </a:lnT>
                    <a:lnB w="38100" cmpd="sng">
                      <a:noFill/>
                    </a:lnB>
                    <a:noFill/>
                  </a:tcPr>
                </a:tc>
                <a:extLst>
                  <a:ext uri="{0D108BD9-81ED-4DB2-BD59-A6C34878D82A}">
                    <a16:rowId xmlns:a16="http://schemas.microsoft.com/office/drawing/2014/main" val="10000"/>
                  </a:ext>
                </a:extLst>
              </a:tr>
            </a:tbl>
          </a:graphicData>
        </a:graphic>
      </p:graphicFrame>
      <p:sp>
        <p:nvSpPr>
          <p:cNvPr id="3" name="Rectangle 2">
            <a:hlinkClick r:id="rId6"/>
          </p:cNvPr>
          <p:cNvSpPr/>
          <p:nvPr userDrawn="1"/>
        </p:nvSpPr>
        <p:spPr>
          <a:xfrm>
            <a:off x="1331914" y="3554928"/>
            <a:ext cx="1959152" cy="1635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dirty="0">
              <a:latin typeface="Manrope" pitchFamily="2" charset="0"/>
              <a:ea typeface="Roboto" panose="02000000000000000000" pitchFamily="2" charset="0"/>
              <a:cs typeface="Arial" panose="020B0604020202020204" pitchFamily="34" charset="0"/>
            </a:endParaRPr>
          </a:p>
        </p:txBody>
      </p:sp>
      <p:pic>
        <p:nvPicPr>
          <p:cNvPr id="5" name="Graphic 4">
            <a:extLst>
              <a:ext uri="{FF2B5EF4-FFF2-40B4-BE49-F238E27FC236}">
                <a16:creationId xmlns:a16="http://schemas.microsoft.com/office/drawing/2014/main" id="{A50F77CC-DC80-E880-3C84-C092937E952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93036" y="170337"/>
            <a:ext cx="1826533" cy="610821"/>
          </a:xfrm>
          <a:prstGeom prst="rect">
            <a:avLst/>
          </a:prstGeom>
        </p:spPr>
      </p:pic>
    </p:spTree>
    <p:extLst>
      <p:ext uri="{BB962C8B-B14F-4D97-AF65-F5344CB8AC3E}">
        <p14:creationId xmlns:p14="http://schemas.microsoft.com/office/powerpoint/2010/main" val="279932071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mp; Imagery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722415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8">
            <a:extLst>
              <a:ext uri="{FF2B5EF4-FFF2-40B4-BE49-F238E27FC236}">
                <a16:creationId xmlns:a16="http://schemas.microsoft.com/office/drawing/2014/main" id="{31BFE570-8FB4-D29B-51A6-DBDD50AEC5D9}"/>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Slide Number Placeholder 8">
            <a:extLst>
              <a:ext uri="{FF2B5EF4-FFF2-40B4-BE49-F238E27FC236}">
                <a16:creationId xmlns:a16="http://schemas.microsoft.com/office/drawing/2014/main" id="{BE7A7C52-81D3-2F14-7614-B9191EF546EE}"/>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35F1F927-CACB-9564-A195-5295B05C467D}"/>
              </a:ext>
            </a:extLst>
          </p:cNvPr>
          <p:cNvSpPr>
            <a:spLocks noGrp="1"/>
          </p:cNvSpPr>
          <p:nvPr>
            <p:ph type="body" idx="20" hasCustomPrompt="1"/>
          </p:nvPr>
        </p:nvSpPr>
        <p:spPr>
          <a:xfrm>
            <a:off x="152400" y="1314451"/>
            <a:ext cx="408638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5" name="Text Placeholder 29">
            <a:extLst>
              <a:ext uri="{FF2B5EF4-FFF2-40B4-BE49-F238E27FC236}">
                <a16:creationId xmlns:a16="http://schemas.microsoft.com/office/drawing/2014/main" id="{3E0B81A7-4906-41B4-094A-F5788D57C38B}"/>
              </a:ext>
            </a:extLst>
          </p:cNvPr>
          <p:cNvSpPr>
            <a:spLocks noGrp="1"/>
          </p:cNvSpPr>
          <p:nvPr>
            <p:ph type="body" sz="quarter" idx="27"/>
          </p:nvPr>
        </p:nvSpPr>
        <p:spPr>
          <a:xfrm>
            <a:off x="152400" y="1771650"/>
            <a:ext cx="4086386"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9" name="Text Placeholder 8">
            <a:extLst>
              <a:ext uri="{FF2B5EF4-FFF2-40B4-BE49-F238E27FC236}">
                <a16:creationId xmlns:a16="http://schemas.microsoft.com/office/drawing/2014/main" id="{6935706B-0477-00CF-0834-FA7CB37C4694}"/>
              </a:ext>
            </a:extLst>
          </p:cNvPr>
          <p:cNvSpPr>
            <a:spLocks noGrp="1"/>
          </p:cNvSpPr>
          <p:nvPr>
            <p:ph type="body" idx="28" hasCustomPrompt="1"/>
          </p:nvPr>
        </p:nvSpPr>
        <p:spPr>
          <a:xfrm>
            <a:off x="4648200" y="1314451"/>
            <a:ext cx="408638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0" name="Text Placeholder 29">
            <a:extLst>
              <a:ext uri="{FF2B5EF4-FFF2-40B4-BE49-F238E27FC236}">
                <a16:creationId xmlns:a16="http://schemas.microsoft.com/office/drawing/2014/main" id="{B65F3178-DDD7-689B-EE83-0FECBBEF9928}"/>
              </a:ext>
            </a:extLst>
          </p:cNvPr>
          <p:cNvSpPr>
            <a:spLocks noGrp="1"/>
          </p:cNvSpPr>
          <p:nvPr>
            <p:ph type="body" sz="quarter" idx="29"/>
          </p:nvPr>
        </p:nvSpPr>
        <p:spPr>
          <a:xfrm>
            <a:off x="4648200" y="1771650"/>
            <a:ext cx="4086386"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itle 1">
            <a:extLst>
              <a:ext uri="{FF2B5EF4-FFF2-40B4-BE49-F238E27FC236}">
                <a16:creationId xmlns:a16="http://schemas.microsoft.com/office/drawing/2014/main" id="{427AC97F-1A7A-EE0C-2140-0122C98C909D}"/>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14" name="Picture Placeholder 14">
            <a:extLst>
              <a:ext uri="{FF2B5EF4-FFF2-40B4-BE49-F238E27FC236}">
                <a16:creationId xmlns:a16="http://schemas.microsoft.com/office/drawing/2014/main" id="{27151444-31D0-68EF-F049-CC836F2B0ECE}"/>
              </a:ext>
            </a:extLst>
          </p:cNvPr>
          <p:cNvSpPr>
            <a:spLocks noGrp="1"/>
          </p:cNvSpPr>
          <p:nvPr>
            <p:ph type="pic" sz="quarter" idx="24" hasCustomPrompt="1"/>
          </p:nvPr>
        </p:nvSpPr>
        <p:spPr>
          <a:xfrm>
            <a:off x="152400" y="2768639"/>
            <a:ext cx="4086386"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6" name="Picture Placeholder 14">
            <a:extLst>
              <a:ext uri="{FF2B5EF4-FFF2-40B4-BE49-F238E27FC236}">
                <a16:creationId xmlns:a16="http://schemas.microsoft.com/office/drawing/2014/main" id="{0EE83826-BD98-48E8-9C19-DEF961D7103F}"/>
              </a:ext>
            </a:extLst>
          </p:cNvPr>
          <p:cNvSpPr>
            <a:spLocks noGrp="1"/>
          </p:cNvSpPr>
          <p:nvPr>
            <p:ph type="pic" sz="quarter" idx="30" hasCustomPrompt="1"/>
          </p:nvPr>
        </p:nvSpPr>
        <p:spPr>
          <a:xfrm>
            <a:off x="4648200" y="2768639"/>
            <a:ext cx="4086386"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7" name="Text Placeholder 29">
            <a:extLst>
              <a:ext uri="{FF2B5EF4-FFF2-40B4-BE49-F238E27FC236}">
                <a16:creationId xmlns:a16="http://schemas.microsoft.com/office/drawing/2014/main" id="{456538E0-49C7-0932-5580-4150C857ED87}"/>
              </a:ext>
            </a:extLst>
          </p:cNvPr>
          <p:cNvSpPr>
            <a:spLocks noGrp="1"/>
          </p:cNvSpPr>
          <p:nvPr>
            <p:ph type="body" sz="quarter" idx="31"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23930934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Imagery - 3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2180406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C7C5D3EF-C772-B8E1-3CE5-0EA1AEF0FD04}"/>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5A901E28-FC60-472F-E1E5-50E171236029}"/>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A1953112-74D7-F109-4200-C4C1B066402C}"/>
              </a:ext>
            </a:extLst>
          </p:cNvPr>
          <p:cNvSpPr>
            <a:spLocks noGrp="1"/>
          </p:cNvSpPr>
          <p:nvPr>
            <p:ph type="body" idx="20" hasCustomPrompt="1"/>
          </p:nvPr>
        </p:nvSpPr>
        <p:spPr>
          <a:xfrm>
            <a:off x="152400"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7BBFD13E-2309-1789-8ED6-A65A8C2D2655}"/>
              </a:ext>
            </a:extLst>
          </p:cNvPr>
          <p:cNvSpPr>
            <a:spLocks noGrp="1"/>
          </p:cNvSpPr>
          <p:nvPr>
            <p:ph type="body" sz="quarter" idx="27"/>
          </p:nvPr>
        </p:nvSpPr>
        <p:spPr>
          <a:xfrm>
            <a:off x="152400" y="1771650"/>
            <a:ext cx="2712360"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5" name="Text Placeholder 8">
            <a:extLst>
              <a:ext uri="{FF2B5EF4-FFF2-40B4-BE49-F238E27FC236}">
                <a16:creationId xmlns:a16="http://schemas.microsoft.com/office/drawing/2014/main" id="{58972809-C706-B694-9286-9EFF5EBB12C4}"/>
              </a:ext>
            </a:extLst>
          </p:cNvPr>
          <p:cNvSpPr>
            <a:spLocks noGrp="1"/>
          </p:cNvSpPr>
          <p:nvPr>
            <p:ph type="body" idx="31" hasCustomPrompt="1"/>
          </p:nvPr>
        </p:nvSpPr>
        <p:spPr>
          <a:xfrm>
            <a:off x="3217344"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6" name="Text Placeholder 29">
            <a:extLst>
              <a:ext uri="{FF2B5EF4-FFF2-40B4-BE49-F238E27FC236}">
                <a16:creationId xmlns:a16="http://schemas.microsoft.com/office/drawing/2014/main" id="{2E53186D-B247-F0F5-D81A-9B01EC624720}"/>
              </a:ext>
            </a:extLst>
          </p:cNvPr>
          <p:cNvSpPr>
            <a:spLocks noGrp="1"/>
          </p:cNvSpPr>
          <p:nvPr>
            <p:ph type="body" sz="quarter" idx="32"/>
          </p:nvPr>
        </p:nvSpPr>
        <p:spPr>
          <a:xfrm>
            <a:off x="3217344" y="1771650"/>
            <a:ext cx="2712360"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9" name="Text Placeholder 8">
            <a:extLst>
              <a:ext uri="{FF2B5EF4-FFF2-40B4-BE49-F238E27FC236}">
                <a16:creationId xmlns:a16="http://schemas.microsoft.com/office/drawing/2014/main" id="{6BBEA851-3D29-14CA-5094-CD2A3B91BF43}"/>
              </a:ext>
            </a:extLst>
          </p:cNvPr>
          <p:cNvSpPr>
            <a:spLocks noGrp="1"/>
          </p:cNvSpPr>
          <p:nvPr>
            <p:ph type="body" idx="34" hasCustomPrompt="1"/>
          </p:nvPr>
        </p:nvSpPr>
        <p:spPr>
          <a:xfrm>
            <a:off x="6282288"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0" name="Text Placeholder 29">
            <a:extLst>
              <a:ext uri="{FF2B5EF4-FFF2-40B4-BE49-F238E27FC236}">
                <a16:creationId xmlns:a16="http://schemas.microsoft.com/office/drawing/2014/main" id="{6CC2ACF3-D786-948D-9827-0FFA7CBE9CA8}"/>
              </a:ext>
            </a:extLst>
          </p:cNvPr>
          <p:cNvSpPr>
            <a:spLocks noGrp="1"/>
          </p:cNvSpPr>
          <p:nvPr>
            <p:ph type="body" sz="quarter" idx="35"/>
          </p:nvPr>
        </p:nvSpPr>
        <p:spPr>
          <a:xfrm>
            <a:off x="6282288" y="1771650"/>
            <a:ext cx="2712360"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8" name="Picture Placeholder 14">
            <a:extLst>
              <a:ext uri="{FF2B5EF4-FFF2-40B4-BE49-F238E27FC236}">
                <a16:creationId xmlns:a16="http://schemas.microsoft.com/office/drawing/2014/main" id="{E0B2A35C-3E8F-3AE5-CBB4-0913B918E17D}"/>
              </a:ext>
            </a:extLst>
          </p:cNvPr>
          <p:cNvSpPr>
            <a:spLocks noGrp="1"/>
          </p:cNvSpPr>
          <p:nvPr>
            <p:ph type="pic" sz="quarter" idx="24" hasCustomPrompt="1"/>
          </p:nvPr>
        </p:nvSpPr>
        <p:spPr>
          <a:xfrm>
            <a:off x="152400"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3" name="Picture Placeholder 14">
            <a:extLst>
              <a:ext uri="{FF2B5EF4-FFF2-40B4-BE49-F238E27FC236}">
                <a16:creationId xmlns:a16="http://schemas.microsoft.com/office/drawing/2014/main" id="{A32CFE0D-79CE-7DDE-81DE-D386FC15D089}"/>
              </a:ext>
            </a:extLst>
          </p:cNvPr>
          <p:cNvSpPr>
            <a:spLocks noGrp="1"/>
          </p:cNvSpPr>
          <p:nvPr>
            <p:ph type="pic" sz="quarter" idx="36" hasCustomPrompt="1"/>
          </p:nvPr>
        </p:nvSpPr>
        <p:spPr>
          <a:xfrm>
            <a:off x="3217344"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37458BB9-847F-83BF-B0D4-DA2C49012148}"/>
              </a:ext>
            </a:extLst>
          </p:cNvPr>
          <p:cNvSpPr>
            <a:spLocks noGrp="1"/>
          </p:cNvSpPr>
          <p:nvPr>
            <p:ph type="pic" sz="quarter" idx="37" hasCustomPrompt="1"/>
          </p:nvPr>
        </p:nvSpPr>
        <p:spPr>
          <a:xfrm>
            <a:off x="6282288"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8" name="Text Placeholder 29">
            <a:extLst>
              <a:ext uri="{FF2B5EF4-FFF2-40B4-BE49-F238E27FC236}">
                <a16:creationId xmlns:a16="http://schemas.microsoft.com/office/drawing/2014/main" id="{027CC0C9-CE90-E134-5382-653F84DF0A88}"/>
              </a:ext>
            </a:extLst>
          </p:cNvPr>
          <p:cNvSpPr>
            <a:spLocks noGrp="1"/>
          </p:cNvSpPr>
          <p:nvPr>
            <p:ph type="body" sz="quarter" idx="38"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977802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ry &amp; Text - 3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63243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209201DF-F0A0-1614-9034-148FB84881A1}"/>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1EB6CF0C-1B91-3154-DE6C-F2F80EA3227C}"/>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27" name="Text Placeholder 8">
            <a:extLst>
              <a:ext uri="{FF2B5EF4-FFF2-40B4-BE49-F238E27FC236}">
                <a16:creationId xmlns:a16="http://schemas.microsoft.com/office/drawing/2014/main" id="{81BCCFB2-20E7-7FB3-B637-C4F92423B0DB}"/>
              </a:ext>
            </a:extLst>
          </p:cNvPr>
          <p:cNvSpPr>
            <a:spLocks noGrp="1"/>
          </p:cNvSpPr>
          <p:nvPr>
            <p:ph type="body" idx="34" hasCustomPrompt="1"/>
          </p:nvPr>
        </p:nvSpPr>
        <p:spPr>
          <a:xfrm>
            <a:off x="817563" y="2768943"/>
            <a:ext cx="1907377"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8" name="Text Placeholder 29">
            <a:extLst>
              <a:ext uri="{FF2B5EF4-FFF2-40B4-BE49-F238E27FC236}">
                <a16:creationId xmlns:a16="http://schemas.microsoft.com/office/drawing/2014/main" id="{AA2E08CE-81FF-B216-9922-060CF267EF02}"/>
              </a:ext>
            </a:extLst>
          </p:cNvPr>
          <p:cNvSpPr>
            <a:spLocks noGrp="1"/>
          </p:cNvSpPr>
          <p:nvPr>
            <p:ph type="body" sz="quarter" idx="35"/>
          </p:nvPr>
        </p:nvSpPr>
        <p:spPr>
          <a:xfrm>
            <a:off x="817563" y="3151150"/>
            <a:ext cx="1907379" cy="140021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0" name="Text Placeholder 8">
            <a:extLst>
              <a:ext uri="{FF2B5EF4-FFF2-40B4-BE49-F238E27FC236}">
                <a16:creationId xmlns:a16="http://schemas.microsoft.com/office/drawing/2014/main" id="{02490076-6E74-342D-0A73-631CD81408BA}"/>
              </a:ext>
            </a:extLst>
          </p:cNvPr>
          <p:cNvSpPr>
            <a:spLocks noGrp="1"/>
          </p:cNvSpPr>
          <p:nvPr>
            <p:ph type="body" idx="37" hasCustomPrompt="1"/>
          </p:nvPr>
        </p:nvSpPr>
        <p:spPr>
          <a:xfrm>
            <a:off x="3775075" y="2768943"/>
            <a:ext cx="19080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31" name="Text Placeholder 29">
            <a:extLst>
              <a:ext uri="{FF2B5EF4-FFF2-40B4-BE49-F238E27FC236}">
                <a16:creationId xmlns:a16="http://schemas.microsoft.com/office/drawing/2014/main" id="{4EFE463D-E7B0-C621-34A7-05DB6DFA4287}"/>
              </a:ext>
            </a:extLst>
          </p:cNvPr>
          <p:cNvSpPr>
            <a:spLocks noGrp="1"/>
          </p:cNvSpPr>
          <p:nvPr>
            <p:ph type="body" sz="quarter" idx="38"/>
          </p:nvPr>
        </p:nvSpPr>
        <p:spPr>
          <a:xfrm>
            <a:off x="3775075" y="3151150"/>
            <a:ext cx="1908000" cy="140021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3" name="Text Placeholder 8">
            <a:extLst>
              <a:ext uri="{FF2B5EF4-FFF2-40B4-BE49-F238E27FC236}">
                <a16:creationId xmlns:a16="http://schemas.microsoft.com/office/drawing/2014/main" id="{37B8629B-FB54-851D-6152-BBFA2A83870C}"/>
              </a:ext>
            </a:extLst>
          </p:cNvPr>
          <p:cNvSpPr>
            <a:spLocks noGrp="1"/>
          </p:cNvSpPr>
          <p:nvPr>
            <p:ph type="body" idx="40" hasCustomPrompt="1"/>
          </p:nvPr>
        </p:nvSpPr>
        <p:spPr>
          <a:xfrm>
            <a:off x="6738938" y="2768943"/>
            <a:ext cx="19080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34" name="Text Placeholder 29">
            <a:extLst>
              <a:ext uri="{FF2B5EF4-FFF2-40B4-BE49-F238E27FC236}">
                <a16:creationId xmlns:a16="http://schemas.microsoft.com/office/drawing/2014/main" id="{32718809-2518-83DB-E0C1-516D1AF00B31}"/>
              </a:ext>
            </a:extLst>
          </p:cNvPr>
          <p:cNvSpPr>
            <a:spLocks noGrp="1"/>
          </p:cNvSpPr>
          <p:nvPr>
            <p:ph type="body" sz="quarter" idx="41"/>
          </p:nvPr>
        </p:nvSpPr>
        <p:spPr>
          <a:xfrm>
            <a:off x="6738938" y="3151150"/>
            <a:ext cx="1908000" cy="140021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 name="Picture Placeholder 14">
            <a:extLst>
              <a:ext uri="{FF2B5EF4-FFF2-40B4-BE49-F238E27FC236}">
                <a16:creationId xmlns:a16="http://schemas.microsoft.com/office/drawing/2014/main" id="{599212D5-B2BF-6A33-1795-26B703A25282}"/>
              </a:ext>
            </a:extLst>
          </p:cNvPr>
          <p:cNvSpPr>
            <a:spLocks noGrp="1"/>
          </p:cNvSpPr>
          <p:nvPr>
            <p:ph type="pic" sz="quarter" idx="24" hasCustomPrompt="1"/>
          </p:nvPr>
        </p:nvSpPr>
        <p:spPr>
          <a:xfrm>
            <a:off x="817564"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7" name="Picture Placeholder 14">
            <a:extLst>
              <a:ext uri="{FF2B5EF4-FFF2-40B4-BE49-F238E27FC236}">
                <a16:creationId xmlns:a16="http://schemas.microsoft.com/office/drawing/2014/main" id="{7A4AA218-7282-08DA-4AE9-E53CC85035CC}"/>
              </a:ext>
            </a:extLst>
          </p:cNvPr>
          <p:cNvSpPr>
            <a:spLocks noGrp="1"/>
          </p:cNvSpPr>
          <p:nvPr>
            <p:ph type="pic" sz="quarter" idx="43" hasCustomPrompt="1"/>
          </p:nvPr>
        </p:nvSpPr>
        <p:spPr>
          <a:xfrm>
            <a:off x="3778251"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10" name="Picture Placeholder 14">
            <a:extLst>
              <a:ext uri="{FF2B5EF4-FFF2-40B4-BE49-F238E27FC236}">
                <a16:creationId xmlns:a16="http://schemas.microsoft.com/office/drawing/2014/main" id="{6B498A89-645A-781F-0792-426EE041C205}"/>
              </a:ext>
            </a:extLst>
          </p:cNvPr>
          <p:cNvSpPr>
            <a:spLocks noGrp="1"/>
          </p:cNvSpPr>
          <p:nvPr>
            <p:ph type="pic" sz="quarter" idx="44" hasCustomPrompt="1"/>
          </p:nvPr>
        </p:nvSpPr>
        <p:spPr>
          <a:xfrm>
            <a:off x="6738938"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12" name="Text Placeholder 29">
            <a:extLst>
              <a:ext uri="{FF2B5EF4-FFF2-40B4-BE49-F238E27FC236}">
                <a16:creationId xmlns:a16="http://schemas.microsoft.com/office/drawing/2014/main" id="{56E7C58A-4A42-979A-4446-8660FAF6E004}"/>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2353476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ry &amp; text - 3x Columns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7117322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pic>
        <p:nvPicPr>
          <p:cNvPr id="8" name="Graphic 7">
            <a:extLst>
              <a:ext uri="{FF2B5EF4-FFF2-40B4-BE49-F238E27FC236}">
                <a16:creationId xmlns:a16="http://schemas.microsoft.com/office/drawing/2014/main" id="{A73B26DA-AE53-3C29-9495-8CAF6026487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4" name="Text Placeholder 8">
            <a:extLst>
              <a:ext uri="{FF2B5EF4-FFF2-40B4-BE49-F238E27FC236}">
                <a16:creationId xmlns:a16="http://schemas.microsoft.com/office/drawing/2014/main" id="{73E719BE-CBAE-A9F4-D5E6-A86C997300B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6" name="Title 1">
            <a:extLst>
              <a:ext uri="{FF2B5EF4-FFF2-40B4-BE49-F238E27FC236}">
                <a16:creationId xmlns:a16="http://schemas.microsoft.com/office/drawing/2014/main" id="{20252E76-C83B-7F34-80B8-0E482EB3687B}"/>
              </a:ext>
            </a:extLst>
          </p:cNvPr>
          <p:cNvSpPr>
            <a:spLocks noGrp="1"/>
          </p:cNvSpPr>
          <p:nvPr>
            <p:ph type="title" hasCustomPrompt="1"/>
          </p:nvPr>
        </p:nvSpPr>
        <p:spPr>
          <a:xfrm>
            <a:off x="152400" y="447675"/>
            <a:ext cx="8842248" cy="440075"/>
          </a:xfrm>
        </p:spPr>
        <p:txBody>
          <a:bodyPr vert="horz" tIns="0" rIns="0" anchor="t">
            <a:noAutofit/>
          </a:bodyPr>
          <a:lstStyle>
            <a:lvl1pPr>
              <a:defRPr sz="2800">
                <a:solidFill>
                  <a:schemeClr val="tx1"/>
                </a:solidFill>
              </a:defRPr>
            </a:lvl1pPr>
          </a:lstStyle>
          <a:p>
            <a:r>
              <a:rPr lang="en-GB" dirty="0"/>
              <a:t>Slide title</a:t>
            </a:r>
          </a:p>
        </p:txBody>
      </p:sp>
      <p:sp>
        <p:nvSpPr>
          <p:cNvPr id="17" name="Text Placeholder 8">
            <a:extLst>
              <a:ext uri="{FF2B5EF4-FFF2-40B4-BE49-F238E27FC236}">
                <a16:creationId xmlns:a16="http://schemas.microsoft.com/office/drawing/2014/main" id="{B5F31585-8744-DBF8-438A-C01D78B5ABC4}"/>
              </a:ext>
            </a:extLst>
          </p:cNvPr>
          <p:cNvSpPr>
            <a:spLocks noGrp="1"/>
          </p:cNvSpPr>
          <p:nvPr>
            <p:ph type="body" idx="34" hasCustomPrompt="1"/>
          </p:nvPr>
        </p:nvSpPr>
        <p:spPr>
          <a:xfrm>
            <a:off x="15240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19" name="Text Placeholder 29">
            <a:extLst>
              <a:ext uri="{FF2B5EF4-FFF2-40B4-BE49-F238E27FC236}">
                <a16:creationId xmlns:a16="http://schemas.microsoft.com/office/drawing/2014/main" id="{CEEABA6C-F7D1-6155-E3AA-3D84A15D3D9B}"/>
              </a:ext>
            </a:extLst>
          </p:cNvPr>
          <p:cNvSpPr>
            <a:spLocks noGrp="1"/>
          </p:cNvSpPr>
          <p:nvPr>
            <p:ph type="body" sz="quarter" idx="35"/>
          </p:nvPr>
        </p:nvSpPr>
        <p:spPr>
          <a:xfrm>
            <a:off x="15240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GB" dirty="0"/>
              <a:t>Click to edit Master text styles</a:t>
            </a:r>
          </a:p>
          <a:p>
            <a:pPr lvl="1"/>
            <a:r>
              <a:rPr lang="en-GB" dirty="0"/>
              <a:t>Second level</a:t>
            </a:r>
          </a:p>
        </p:txBody>
      </p:sp>
      <p:sp>
        <p:nvSpPr>
          <p:cNvPr id="28" name="Text Placeholder 8">
            <a:extLst>
              <a:ext uri="{FF2B5EF4-FFF2-40B4-BE49-F238E27FC236}">
                <a16:creationId xmlns:a16="http://schemas.microsoft.com/office/drawing/2014/main" id="{112D070B-C106-C140-9B56-410051433BEA}"/>
              </a:ext>
            </a:extLst>
          </p:cNvPr>
          <p:cNvSpPr>
            <a:spLocks noGrp="1"/>
          </p:cNvSpPr>
          <p:nvPr>
            <p:ph type="body" idx="37" hasCustomPrompt="1"/>
          </p:nvPr>
        </p:nvSpPr>
        <p:spPr>
          <a:xfrm>
            <a:off x="321564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29" name="Text Placeholder 29">
            <a:extLst>
              <a:ext uri="{FF2B5EF4-FFF2-40B4-BE49-F238E27FC236}">
                <a16:creationId xmlns:a16="http://schemas.microsoft.com/office/drawing/2014/main" id="{BE7C94EE-4112-6879-1118-36FAE37929A8}"/>
              </a:ext>
            </a:extLst>
          </p:cNvPr>
          <p:cNvSpPr>
            <a:spLocks noGrp="1"/>
          </p:cNvSpPr>
          <p:nvPr>
            <p:ph type="body" sz="quarter" idx="38"/>
          </p:nvPr>
        </p:nvSpPr>
        <p:spPr>
          <a:xfrm>
            <a:off x="321564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GB" dirty="0"/>
              <a:t>Click to edit Master text styles</a:t>
            </a:r>
          </a:p>
          <a:p>
            <a:pPr lvl="1"/>
            <a:r>
              <a:rPr lang="en-GB" dirty="0"/>
              <a:t>Second level</a:t>
            </a:r>
          </a:p>
        </p:txBody>
      </p:sp>
      <p:sp>
        <p:nvSpPr>
          <p:cNvPr id="31" name="Text Placeholder 8">
            <a:extLst>
              <a:ext uri="{FF2B5EF4-FFF2-40B4-BE49-F238E27FC236}">
                <a16:creationId xmlns:a16="http://schemas.microsoft.com/office/drawing/2014/main" id="{5D585351-6D6D-217A-5712-0B65196DAFCF}"/>
              </a:ext>
            </a:extLst>
          </p:cNvPr>
          <p:cNvSpPr>
            <a:spLocks noGrp="1"/>
          </p:cNvSpPr>
          <p:nvPr>
            <p:ph type="body" idx="40" hasCustomPrompt="1"/>
          </p:nvPr>
        </p:nvSpPr>
        <p:spPr>
          <a:xfrm>
            <a:off x="627888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32" name="Text Placeholder 29">
            <a:extLst>
              <a:ext uri="{FF2B5EF4-FFF2-40B4-BE49-F238E27FC236}">
                <a16:creationId xmlns:a16="http://schemas.microsoft.com/office/drawing/2014/main" id="{ABD25F4E-8040-F88D-8A9D-B8E30C9AA487}"/>
              </a:ext>
            </a:extLst>
          </p:cNvPr>
          <p:cNvSpPr>
            <a:spLocks noGrp="1"/>
          </p:cNvSpPr>
          <p:nvPr>
            <p:ph type="body" sz="quarter" idx="41"/>
          </p:nvPr>
        </p:nvSpPr>
        <p:spPr>
          <a:xfrm>
            <a:off x="627888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GB" dirty="0"/>
              <a:t>Click to edit Master text styles</a:t>
            </a:r>
          </a:p>
          <a:p>
            <a:pPr lvl="1"/>
            <a:r>
              <a:rPr lang="en-GB" dirty="0"/>
              <a:t>Second level</a:t>
            </a:r>
          </a:p>
        </p:txBody>
      </p:sp>
      <p:sp>
        <p:nvSpPr>
          <p:cNvPr id="2" name="Picture Placeholder 14">
            <a:extLst>
              <a:ext uri="{FF2B5EF4-FFF2-40B4-BE49-F238E27FC236}">
                <a16:creationId xmlns:a16="http://schemas.microsoft.com/office/drawing/2014/main" id="{094BC1A4-49C8-4AED-58FC-2B17D98EDA36}"/>
              </a:ext>
            </a:extLst>
          </p:cNvPr>
          <p:cNvSpPr>
            <a:spLocks noGrp="1"/>
          </p:cNvSpPr>
          <p:nvPr>
            <p:ph type="pic" sz="quarter" idx="24"/>
          </p:nvPr>
        </p:nvSpPr>
        <p:spPr>
          <a:xfrm>
            <a:off x="152400" y="1314451"/>
            <a:ext cx="2715768" cy="1328010"/>
          </a:xfrm>
          <a:prstGeom prst="roundRect">
            <a:avLst>
              <a:gd name="adj" fmla="val 2509"/>
            </a:avLst>
          </a:prstGeom>
        </p:spPr>
        <p:txBody>
          <a:bodyPr/>
          <a:lstStyle>
            <a:lvl1pPr marL="0" indent="0" algn="ctr">
              <a:buNone/>
              <a:defRPr/>
            </a:lvl1pPr>
          </a:lstStyle>
          <a:p>
            <a:endParaRPr lang="en-US"/>
          </a:p>
        </p:txBody>
      </p:sp>
      <p:sp>
        <p:nvSpPr>
          <p:cNvPr id="12" name="Picture Placeholder 14">
            <a:extLst>
              <a:ext uri="{FF2B5EF4-FFF2-40B4-BE49-F238E27FC236}">
                <a16:creationId xmlns:a16="http://schemas.microsoft.com/office/drawing/2014/main" id="{C484F36B-8FCC-F63A-5912-28ADDED8F4B3}"/>
              </a:ext>
            </a:extLst>
          </p:cNvPr>
          <p:cNvSpPr>
            <a:spLocks noGrp="1"/>
          </p:cNvSpPr>
          <p:nvPr>
            <p:ph type="pic" sz="quarter" idx="42"/>
          </p:nvPr>
        </p:nvSpPr>
        <p:spPr>
          <a:xfrm>
            <a:off x="3215640" y="1314451"/>
            <a:ext cx="2715768" cy="1328010"/>
          </a:xfrm>
          <a:prstGeom prst="roundRect">
            <a:avLst>
              <a:gd name="adj" fmla="val 2509"/>
            </a:avLst>
          </a:prstGeom>
        </p:spPr>
        <p:txBody>
          <a:bodyPr/>
          <a:lstStyle>
            <a:lvl1pPr marL="0" indent="0" algn="ctr">
              <a:buNone/>
              <a:defRPr/>
            </a:lvl1pPr>
          </a:lstStyle>
          <a:p>
            <a:endParaRPr lang="en-US"/>
          </a:p>
        </p:txBody>
      </p:sp>
      <p:sp>
        <p:nvSpPr>
          <p:cNvPr id="13" name="Picture Placeholder 14">
            <a:extLst>
              <a:ext uri="{FF2B5EF4-FFF2-40B4-BE49-F238E27FC236}">
                <a16:creationId xmlns:a16="http://schemas.microsoft.com/office/drawing/2014/main" id="{12F475B3-68C6-2152-86FA-975B407E5679}"/>
              </a:ext>
            </a:extLst>
          </p:cNvPr>
          <p:cNvSpPr>
            <a:spLocks noGrp="1"/>
          </p:cNvSpPr>
          <p:nvPr>
            <p:ph type="pic" sz="quarter" idx="43"/>
          </p:nvPr>
        </p:nvSpPr>
        <p:spPr>
          <a:xfrm>
            <a:off x="6278880" y="1314451"/>
            <a:ext cx="2715768" cy="1328010"/>
          </a:xfrm>
          <a:prstGeom prst="roundRect">
            <a:avLst>
              <a:gd name="adj" fmla="val 2509"/>
            </a:avLst>
          </a:prstGeom>
        </p:spPr>
        <p:txBody>
          <a:bodyPr/>
          <a:lstStyle>
            <a:lvl1pPr marL="0" indent="0" algn="ctr">
              <a:buNone/>
              <a:defRPr/>
            </a:lvl1pPr>
          </a:lstStyle>
          <a:p>
            <a:endParaRPr lang="en-US"/>
          </a:p>
        </p:txBody>
      </p:sp>
      <p:sp>
        <p:nvSpPr>
          <p:cNvPr id="15" name="Text Placeholder 29">
            <a:extLst>
              <a:ext uri="{FF2B5EF4-FFF2-40B4-BE49-F238E27FC236}">
                <a16:creationId xmlns:a16="http://schemas.microsoft.com/office/drawing/2014/main" id="{AAFC2F6C-620B-279C-3B91-8EB0FCED824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8" name="Rectangle 17">
            <a:extLst>
              <a:ext uri="{FF2B5EF4-FFF2-40B4-BE49-F238E27FC236}">
                <a16:creationId xmlns:a16="http://schemas.microsoft.com/office/drawing/2014/main" id="{60C0D021-B604-2496-AEAB-33AD76579D92}"/>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990519126"/>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theme" Target="../theme/theme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image" Target="../media/image2.png"/><Relationship Id="rId3" Type="http://schemas.openxmlformats.org/officeDocument/2006/relationships/slideLayout" Target="../slideLayouts/slideLayout5.xml"/><Relationship Id="rId21" Type="http://schemas.openxmlformats.org/officeDocument/2006/relationships/theme" Target="../theme/theme4.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image" Target="../media/image1.emf"/><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oleObject" Target="../embeddings/oleObject6.bin"/><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tags" Target="../tags/tag1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tags" Target="../tags/tag11.xml"/><Relationship Id="rId27" Type="http://schemas.openxmlformats.org/officeDocument/2006/relationships/image" Target="../media/image3.sv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oleObject" Target="../embeddings/oleObject27.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ags" Target="../tags/tag54.xml"/><Relationship Id="rId5" Type="http://schemas.openxmlformats.org/officeDocument/2006/relationships/tags" Target="../tags/tag53.xml"/><Relationship Id="rId10" Type="http://schemas.openxmlformats.org/officeDocument/2006/relationships/image" Target="../media/image3.svg"/><Relationship Id="rId4" Type="http://schemas.openxmlformats.org/officeDocument/2006/relationships/theme" Target="../theme/theme5.xml"/><Relationship Id="rId9"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61.xml"/><Relationship Id="rId18" Type="http://schemas.openxmlformats.org/officeDocument/2006/relationships/image" Target="../media/image3.sv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6.xml"/><Relationship Id="rId17" Type="http://schemas.openxmlformats.org/officeDocument/2006/relationships/image" Target="../media/image2.png"/><Relationship Id="rId2" Type="http://schemas.openxmlformats.org/officeDocument/2006/relationships/slideLayout" Target="../slideLayouts/slideLayout27.xml"/><Relationship Id="rId16"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31.bin"/><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6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43.bin"/><Relationship Id="rId2" Type="http://schemas.openxmlformats.org/officeDocument/2006/relationships/slideLayout" Target="../slideLayouts/slideLayout38.xml"/><Relationship Id="rId16" Type="http://schemas.openxmlformats.org/officeDocument/2006/relationships/tags" Target="../tags/tag86.xml"/><Relationship Id="rId20" Type="http://schemas.openxmlformats.org/officeDocument/2006/relationships/image" Target="../media/image3.sv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85.xml"/><Relationship Id="rId10" Type="http://schemas.openxmlformats.org/officeDocument/2006/relationships/slideLayout" Target="../slideLayouts/slideLayout46.xml"/><Relationship Id="rId19" Type="http://schemas.openxmlformats.org/officeDocument/2006/relationships/image" Target="../media/image2.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13.x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50.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tags" Target="../tags/tag114.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3.xml"/><Relationship Id="rId7" Type="http://schemas.openxmlformats.org/officeDocument/2006/relationships/oleObject" Target="../embeddings/oleObject59.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118.xml"/><Relationship Id="rId5" Type="http://schemas.openxmlformats.org/officeDocument/2006/relationships/tags" Target="../tags/tag117.xml"/><Relationship Id="rId10" Type="http://schemas.openxmlformats.org/officeDocument/2006/relationships/image" Target="../media/image3.svg"/><Relationship Id="rId4" Type="http://schemas.openxmlformats.org/officeDocument/2006/relationships/theme" Target="../theme/theme9.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72171519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4" name="Object 3"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875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pic>
        <p:nvPicPr>
          <p:cNvPr id="11" name="Graphic 10">
            <a:extLst>
              <a:ext uri="{FF2B5EF4-FFF2-40B4-BE49-F238E27FC236}">
                <a16:creationId xmlns:a16="http://schemas.microsoft.com/office/drawing/2014/main" id="{21E0DFD6-1180-7ADA-7F2E-877802390D9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8565" y="4659904"/>
            <a:ext cx="1153080" cy="385608"/>
          </a:xfrm>
          <a:prstGeom prst="rect">
            <a:avLst/>
          </a:prstGeom>
        </p:spPr>
      </p:pic>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8750" y="1314450"/>
            <a:ext cx="433705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530B4081-7E66-FF69-6153-1AE7EEDF4F11}"/>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03FB2C12-339D-366A-9828-5B4E15BD2415}"/>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A38978F8-A8A6-3B8F-E4BC-77417691AB8A}"/>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111FE358-1A72-AE36-872B-A5833CBF9791}"/>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69F1A616-CAC7-AC80-A143-CE1C630EC1B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809469E4-9C61-9B28-A5F6-B7E7CFB8DB88}"/>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9201EFE8-E343-E565-B109-BB30BDAF6C0A}"/>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58A3EB4C-A1F7-0395-1BE7-1D5EB65A40D7}"/>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AB7AC50C-C5C7-D885-DDAA-1D60F2A91FA3}"/>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EBFF7993-BF54-D57E-8D8C-A8F126DEAF68}"/>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6DB3C7AD-F454-219D-4901-C91B9694D027}"/>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62261D3C-8650-8DEE-C1FF-0E22E5FC249F}"/>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CB165AD9-F384-9BF5-D233-BD10922AEC46}"/>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F301BBA5-5A2F-AB13-8CF6-EABC42CA599D}"/>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70430B30-8282-0941-4A1F-0D377FD7B7CB}"/>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397961611"/>
      </p:ext>
    </p:extLst>
  </p:cSld>
  <p:clrMap bg1="lt1" tx1="dk1" bg2="lt2" tx2="dk2" accent1="accent1" accent2="accent2" accent3="accent3" accent4="accent4" accent5="accent5" accent6="accent6" hlink="hlink" folHlink="folHlink"/>
  <p:sldLayoutIdLst>
    <p:sldLayoutId id="2147483946" r:id="rId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82" userDrawn="1">
          <p15:clr>
            <a:srgbClr val="57DBB6"/>
          </p15:clr>
        </p15:guide>
        <p15:guide id="31" orient="horz" pos="828" userDrawn="1">
          <p15:clr>
            <a:srgbClr val="57DBB6"/>
          </p15:clr>
        </p15:guide>
        <p15:guide id="32" orient="horz" pos="1128" userDrawn="1">
          <p15:clr>
            <a:srgbClr val="57DBB6"/>
          </p15:clr>
        </p15:guide>
        <p15:guide id="33" orient="horz" pos="2988" userDrawn="1">
          <p15:clr>
            <a:srgbClr val="57DBB6"/>
          </p15:clr>
        </p15:guide>
        <p15:guide id="34" pos="2880" userDrawn="1">
          <p15:clr>
            <a:srgbClr val="57DBB6"/>
          </p15:clr>
        </p15:guide>
        <p15:guide id="35" orient="horz" pos="2868" userDrawn="1">
          <p15:clr>
            <a:srgbClr val="57DBB6"/>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520744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4" name="Object 3"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79389"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05625"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79388" y="1314450"/>
            <a:ext cx="4337050" cy="3213100"/>
          </a:xfrm>
          <a:prstGeom prst="rect">
            <a:avLst/>
          </a:prstGeom>
        </p:spPr>
        <p:txBody>
          <a:bodyPr vert="horz" lIns="0" tIns="0" rIns="0" bIns="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8F95FEF6-ED0F-F0FB-B36C-8405B8B35EC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D314D9D-CAE0-7024-B9BA-965DB0A449AF}"/>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E33CAB03-2AA2-F31D-A4D9-E6E13C243407}"/>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5774A8BD-9999-F8C1-D7F6-83BFB80E2E7D}"/>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B0BA61EE-30BA-FB49-A41F-4D19195E7300}"/>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73C8DFC7-210E-2F15-F05E-3DB5726E92AE}"/>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403C1A46-F245-649B-7166-7E6A3D810F9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95F8CFF0-DDE4-C70A-DACE-E70F8E8E8175}"/>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F973DD54-6C58-50CD-D031-F58688DCD22E}"/>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2CBEA71B-33DC-3184-FA65-3CDFF72DC281}"/>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7B873F4-F408-84F2-D393-AFA5EBEA4313}"/>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49C187D7-FBA1-A765-5CF8-EDED24330633}"/>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0A5C4FFC-39D1-9581-B801-F3644BC8744E}"/>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69DDCF75-5CC2-1A7A-6EAF-5A7F9187849F}"/>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8D86F2BE-F6CC-A3E8-FD9C-DC5B88A2928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1011DBAD-0FA0-3275-6E65-9C164B97F19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364023282"/>
      </p:ext>
    </p:extLst>
  </p:cSld>
  <p:clrMap bg1="lt1" tx1="dk1" bg2="lt2" tx2="dk2" accent1="accent1" accent2="accent2" accent3="accent3" accent4="accent4" accent5="accent5" accent6="accent6" hlink="hlink" folHlink="folHlink"/>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orient="horz" pos="103" userDrawn="1">
          <p15:clr>
            <a:srgbClr val="57DBB6"/>
          </p15:clr>
        </p15:guide>
        <p15:guide id="4" orient="horz" pos="3119" userDrawn="1">
          <p15:clr>
            <a:srgbClr val="57DBB6"/>
          </p15:clr>
        </p15:guide>
        <p15:guide id="5" pos="113" userDrawn="1">
          <p15:clr>
            <a:srgbClr val="57DBB6"/>
          </p15:clr>
        </p15:guide>
        <p15:guide id="6" pos="510" userDrawn="1">
          <p15:clr>
            <a:srgbClr val="57DBB6"/>
          </p15:clr>
        </p15:guide>
        <p15:guide id="7" pos="580" userDrawn="1">
          <p15:clr>
            <a:srgbClr val="57DBB6"/>
          </p15:clr>
        </p15:guide>
        <p15:guide id="8" pos="977" userDrawn="1">
          <p15:clr>
            <a:srgbClr val="57DBB6"/>
          </p15:clr>
        </p15:guide>
        <p15:guide id="9" pos="1047" userDrawn="1">
          <p15:clr>
            <a:srgbClr val="57DBB6"/>
          </p15:clr>
        </p15:guide>
        <p15:guide id="10" pos="1444" userDrawn="1">
          <p15:clr>
            <a:srgbClr val="57DBB6"/>
          </p15:clr>
        </p15:guide>
        <p15:guide id="11" pos="1514" userDrawn="1">
          <p15:clr>
            <a:srgbClr val="57DBB6"/>
          </p15:clr>
        </p15:guide>
        <p15:guide id="12" pos="1911" userDrawn="1">
          <p15:clr>
            <a:srgbClr val="57DBB6"/>
          </p15:clr>
        </p15:guide>
        <p15:guide id="13" pos="1980" userDrawn="1">
          <p15:clr>
            <a:srgbClr val="57DBB6"/>
          </p15:clr>
        </p15:guide>
        <p15:guide id="14" pos="2378" userDrawn="1">
          <p15:clr>
            <a:srgbClr val="57DBB6"/>
          </p15:clr>
        </p15:guide>
        <p15:guide id="15" pos="2447" userDrawn="1">
          <p15:clr>
            <a:srgbClr val="57DBB6"/>
          </p15:clr>
        </p15:guide>
        <p15:guide id="16" pos="2845" userDrawn="1">
          <p15:clr>
            <a:srgbClr val="57DBB6"/>
          </p15:clr>
        </p15:guide>
        <p15:guide id="17" pos="2914" userDrawn="1">
          <p15:clr>
            <a:srgbClr val="57DBB6"/>
          </p15:clr>
        </p15:guide>
        <p15:guide id="18" pos="3312" userDrawn="1">
          <p15:clr>
            <a:srgbClr val="57DBB6"/>
          </p15:clr>
        </p15:guide>
        <p15:guide id="19" pos="3381" userDrawn="1">
          <p15:clr>
            <a:srgbClr val="57DBB6"/>
          </p15:clr>
        </p15:guide>
        <p15:guide id="20" pos="3779" userDrawn="1">
          <p15:clr>
            <a:srgbClr val="57DBB6"/>
          </p15:clr>
        </p15:guide>
        <p15:guide id="21" pos="3848" userDrawn="1">
          <p15:clr>
            <a:srgbClr val="57DBB6"/>
          </p15:clr>
        </p15:guide>
        <p15:guide id="22" pos="4245" userDrawn="1">
          <p15:clr>
            <a:srgbClr val="57DBB6"/>
          </p15:clr>
        </p15:guide>
        <p15:guide id="23" pos="4315" userDrawn="1">
          <p15:clr>
            <a:srgbClr val="57DBB6"/>
          </p15:clr>
        </p15:guide>
        <p15:guide id="24" pos="4712" userDrawn="1">
          <p15:clr>
            <a:srgbClr val="57DBB6"/>
          </p15:clr>
        </p15:guide>
        <p15:guide id="25" pos="4782" userDrawn="1">
          <p15:clr>
            <a:srgbClr val="57DBB6"/>
          </p15:clr>
        </p15:guide>
        <p15:guide id="26" pos="5179" userDrawn="1">
          <p15:clr>
            <a:srgbClr val="57DBB6"/>
          </p15:clr>
        </p15:guide>
        <p15:guide id="27" pos="5249" userDrawn="1">
          <p15:clr>
            <a:srgbClr val="57DBB6"/>
          </p15:clr>
        </p15:guide>
        <p15:guide id="28" pos="5646" userDrawn="1">
          <p15:clr>
            <a:srgbClr val="57DBB6"/>
          </p15:clr>
        </p15:guide>
        <p15:guide id="29" orient="horz" pos="2993" userDrawn="1">
          <p15:clr>
            <a:srgbClr val="F26B43"/>
          </p15:clr>
        </p15:guide>
        <p15:guide id="30" orient="horz" pos="282" userDrawn="1">
          <p15:clr>
            <a:srgbClr val="57DBB6"/>
          </p15:clr>
        </p15:guide>
        <p15:guide id="31" orient="horz" pos="828" userDrawn="1">
          <p15:clr>
            <a:srgbClr val="57DBB6"/>
          </p15:clr>
        </p15:guide>
        <p15:guide id="32" orient="horz" pos="1128" userDrawn="1">
          <p15:clr>
            <a:srgbClr val="57DBB6"/>
          </p15:clr>
        </p15:guide>
        <p15:guide id="33" orient="horz" pos="2867" userDrawn="1">
          <p15:clr>
            <a:srgbClr val="57DBB6"/>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1201691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4" name="Object 3"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43401"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399" y="1314450"/>
            <a:ext cx="4343401" cy="3236913"/>
          </a:xfrm>
          <a:prstGeom prst="rect">
            <a:avLst/>
          </a:prstGeom>
        </p:spPr>
        <p:txBody>
          <a:bodyPr vert="horz" lIns="0" tIns="0" rIns="0" bIns="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069C6718-F7F6-8FCD-0C6D-21EEBF083409}"/>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9D4B86FA-AFCD-06A5-3375-F6384A61DABC}"/>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318E722-7AD1-4FCE-6EBF-769CA7F04481}"/>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374204CD-C948-D4BE-E73D-6793FDD1F814}"/>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250122B4-3A83-C3C2-A87A-E2E5FFBFE097}"/>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3187E4B4-A4AC-ADAC-79EE-3E5F04BE235E}"/>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4C970DC5-0482-EBDB-116E-F901DE378019}"/>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B72C2DEF-709E-4625-E278-C2D72B27BCF6}"/>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9C1DB055-C590-45DB-6193-B6378E484A81}"/>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C9EF77CB-569B-D349-7701-B2B6D202CED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18D85CC-79F0-9018-4F1E-D1CDA6EAFAD8}"/>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9462E24E-9E71-BFA3-5EEA-5AE7149955A5}"/>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F1DF92EF-5544-410E-8A1B-98C04B543248}"/>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C72421E1-3ED1-179E-EB8B-BF32B3E49FA6}"/>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58800F4A-5A0C-5F4D-8046-5DDD51C1ABB3}"/>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32" name="Graphic 31">
            <a:extLst>
              <a:ext uri="{FF2B5EF4-FFF2-40B4-BE49-F238E27FC236}">
                <a16:creationId xmlns:a16="http://schemas.microsoft.com/office/drawing/2014/main" id="{47E61550-B9C8-461C-FFB8-4E3FF79721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899976049"/>
      </p:ext>
    </p:extLst>
  </p:cSld>
  <p:clrMap bg1="lt1" tx1="dk1" bg2="lt2" tx2="dk2" accent1="accent1" accent2="accent2" accent3="accent3" accent4="accent4" accent5="accent5" accent6="accent6" hlink="hlink" folHlink="folHlink"/>
  <p:sldLayoutIdLst>
    <p:sldLayoutId id="2147484105" r:id="rId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extLst>
              <p:ext uri="{D42A27DB-BD31-4B8C-83A1-F6EECF244321}">
                <p14:modId xmlns:p14="http://schemas.microsoft.com/office/powerpoint/2010/main" val="136130220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24" imgW="572" imgH="429" progId="TCLayout.ActiveDocument.1">
                  <p:embed/>
                </p:oleObj>
              </mc:Choice>
              <mc:Fallback>
                <p:oleObj name="think-cell Slide" r:id="rId24" imgW="572" imgH="429" progId="TCLayout.ActiveDocument.1">
                  <p:embed/>
                  <p:pic>
                    <p:nvPicPr>
                      <p:cNvPr id="4" name="Object 3" hidden="1"/>
                      <p:cNvPicPr/>
                      <p:nvPr/>
                    </p:nvPicPr>
                    <p:blipFill>
                      <a:blip r:embed="rId25"/>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2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37050" cy="323691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833665F9-FF19-E629-8730-9FCE9A6E775B}"/>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2E608EDE-3F00-C545-2B31-5C6A2739E490}"/>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79D26074-7D94-10C0-E022-3EE1DBF70AA7}"/>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BF84023E-31F8-251B-A13D-AF601FDCBA13}"/>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00E0D632-137A-F4F7-F904-1A70FED0092E}"/>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76C3B889-65D8-2A83-866A-D156383DFA53}"/>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B5710308-B382-256C-D96E-56AE3E5BDAA6}"/>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5536FA30-2C85-202C-D901-5E3CB5CB2BC6}"/>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B22FEF4C-3940-4731-07E0-94735C693393}"/>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3CB4E8D4-C5D0-5AB9-E11D-D4E64EB240D2}"/>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89CA7702-85C6-BF66-2C06-9ADD7ACE11D4}"/>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44A92F26-8777-F8C2-AAFE-603DFA299EDE}"/>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FA908498-319E-586D-C542-DA6F7A30BC5E}"/>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2B4BA0E4-8F70-C258-06EE-AC4835835608}"/>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3571C58D-1985-8840-34A4-1F5A11F04E9C}"/>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497FB5F7-AF9C-5000-9858-9B1EDF3D04D7}"/>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2079894143"/>
      </p:ext>
    </p:extLst>
  </p:cSld>
  <p:clrMap bg1="lt1" tx1="dk1" bg2="lt2" tx2="dk2" accent1="accent1" accent2="accent2" accent3="accent3" accent4="accent4" accent5="accent5" accent6="accent6" hlink="hlink" folHlink="folHlink"/>
  <p:sldLayoutIdLst>
    <p:sldLayoutId id="2147484366" r:id="rId1"/>
    <p:sldLayoutId id="2147484169" r:id="rId2"/>
    <p:sldLayoutId id="2147484367" r:id="rId3"/>
    <p:sldLayoutId id="2147484172" r:id="rId4"/>
    <p:sldLayoutId id="2147484173" r:id="rId5"/>
    <p:sldLayoutId id="2147484174" r:id="rId6"/>
    <p:sldLayoutId id="2147484175" r:id="rId7"/>
    <p:sldLayoutId id="2147484176" r:id="rId8"/>
    <p:sldLayoutId id="2147484177" r:id="rId9"/>
    <p:sldLayoutId id="2147484178" r:id="rId10"/>
    <p:sldLayoutId id="2147484384" r:id="rId11"/>
    <p:sldLayoutId id="2147484179" r:id="rId12"/>
    <p:sldLayoutId id="2147484381" r:id="rId13"/>
    <p:sldLayoutId id="2147484180" r:id="rId14"/>
    <p:sldLayoutId id="2147484181" r:id="rId15"/>
    <p:sldLayoutId id="2147484182" r:id="rId16"/>
    <p:sldLayoutId id="2147484183" r:id="rId17"/>
    <p:sldLayoutId id="2147484184" r:id="rId18"/>
    <p:sldLayoutId id="2147484185" r:id="rId19"/>
    <p:sldLayoutId id="2147484186" r:id="rId20"/>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16" userDrawn="1">
          <p15:clr>
            <a:srgbClr val="57DBB6"/>
          </p15:clr>
        </p15:guide>
        <p15:guide id="33" orient="horz" pos="2868" userDrawn="1">
          <p15:clr>
            <a:srgbClr val="57DBB6"/>
          </p15:clr>
        </p15:guide>
        <p15:guide id="34" orient="horz" pos="2988" userDrawn="1">
          <p15:clr>
            <a:srgbClr val="57DBB6"/>
          </p15:clr>
        </p15:guide>
        <p15:guide id="35" pos="2880" userDrawn="1">
          <p15:clr>
            <a:srgbClr val="57DBB6"/>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237040409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4" name="Object 3"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3705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A10E046D-D645-DC0A-BA8B-794C65543DC4}"/>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64D212FE-AAAE-E9A7-E230-6743C8A6FEE5}"/>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5C085EE7-6D7D-27D1-38BF-40E3A665F88E}"/>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D402338C-DF41-8F43-0E04-8B2367061CB1}"/>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619073C5-5FFF-94FB-7CEA-5BE9786AC55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796E4203-C6BC-E12A-A767-3C6ABE3FA5DC}"/>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3B582023-40B2-B43A-9A80-7BDEDBD0676B}"/>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FC9D76C4-8DA2-FCF1-B73E-888AE0C2590D}"/>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1C894161-5ADF-5E67-E01B-512941D5B7AD}"/>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5C5FDDB5-B356-2295-D65F-0161F40B9103}"/>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32A154B5-1F5D-A073-28C9-B2BA3A10950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C1DA3213-13FF-D5BA-6148-85EE0A890CE2}"/>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D746DDD6-9BEB-0FF6-CF6D-6A20A1E7B0E0}"/>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8743BEAC-B041-4A87-D295-DE38F7D0C69C}"/>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80F23272-BE9E-7AB6-0BF7-E0250B64D1B6}"/>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7" name="Slide Number Placeholder 8">
            <a:extLst>
              <a:ext uri="{FF2B5EF4-FFF2-40B4-BE49-F238E27FC236}">
                <a16:creationId xmlns:a16="http://schemas.microsoft.com/office/drawing/2014/main" id="{2A21A2A2-583C-57A8-99CA-FB023163388C}"/>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pic>
        <p:nvPicPr>
          <p:cNvPr id="8" name="Graphic 7">
            <a:extLst>
              <a:ext uri="{FF2B5EF4-FFF2-40B4-BE49-F238E27FC236}">
                <a16:creationId xmlns:a16="http://schemas.microsoft.com/office/drawing/2014/main" id="{F46A6657-9953-36B5-3C01-1E891FDC106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594937949"/>
      </p:ext>
    </p:extLst>
  </p:cSld>
  <p:clrMap bg1="lt1" tx1="dk1" bg2="lt2" tx2="dk2" accent1="accent1" accent2="accent2" accent3="accent3" accent4="accent4" accent5="accent5" accent6="accent6" hlink="hlink" folHlink="folHlink"/>
  <p:sldLayoutIdLst>
    <p:sldLayoutId id="2147484368" r:id="rId1"/>
    <p:sldLayoutId id="2147484298" r:id="rId2"/>
    <p:sldLayoutId id="2147484369" r:id="rId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orient="horz" pos="2988" userDrawn="1">
          <p15:clr>
            <a:srgbClr val="57DBB6"/>
          </p15:clr>
        </p15:guide>
        <p15:guide id="35" pos="2880" userDrawn="1">
          <p15:clr>
            <a:srgbClr val="57DBB6"/>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5" imgW="572" imgH="429" progId="TCLayout.ActiveDocument.1">
                  <p:embed/>
                </p:oleObj>
              </mc:Choice>
              <mc:Fallback>
                <p:oleObj name="think-cell Slide" r:id="rId15" imgW="572" imgH="429" progId="TCLayout.ActiveDocument.1">
                  <p:embed/>
                  <p:pic>
                    <p:nvPicPr>
                      <p:cNvPr id="4" name="Object 3" hidden="1"/>
                      <p:cNvPicPr/>
                      <p:nvPr/>
                    </p:nvPicPr>
                    <p:blipFill>
                      <a:blip r:embed="rId1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1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E356557-8965-152C-F6BC-3D6E9DCD498E}"/>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2B8337A-BC42-45D0-E611-02077DD76FA6}"/>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7DF36E0E-9AD2-FE6C-7DDD-F8790449D42C}"/>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7DBF607-E5DF-BD11-693C-FA7DB30A604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617962C-CEB8-F244-C698-3CDFA18D2896}"/>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1D8D85EF-F338-A3CF-D6CF-7938BBBEAB4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E77E22B9-375B-BB8E-E1A4-AADEB010AE7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D881F0A2-ABDD-0FEE-5F0C-9A3E0D2E1065}"/>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9FB0FFB5-2FBB-D038-94D2-A7BAAEDE899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8FCC0EC-5FBF-E3B6-59A1-CC7BAE8C221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035DECE-A57A-E5F3-CE60-08C9207DBC0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BBF82C59-737A-F6EE-8D6D-6BA970E4FF04}"/>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94998DEA-3CE5-FF44-8A80-3A9A1E53D527}"/>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10D4BF8-9D13-DD1B-A935-FDA7206D9DE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4229802630"/>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85" r:id="rId3"/>
    <p:sldLayoutId id="2147484373" r:id="rId4"/>
    <p:sldLayoutId id="2147484374" r:id="rId5"/>
    <p:sldLayoutId id="2147484375" r:id="rId6"/>
    <p:sldLayoutId id="2147484382" r:id="rId7"/>
    <p:sldLayoutId id="2147484377" r:id="rId8"/>
    <p:sldLayoutId id="2147484378" r:id="rId9"/>
    <p:sldLayoutId id="2147484380" r:id="rId10"/>
    <p:sldLayoutId id="2147484383" r:id="rId1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7" imgW="572" imgH="429" progId="TCLayout.ActiveDocument.1">
                  <p:embed/>
                </p:oleObj>
              </mc:Choice>
              <mc:Fallback>
                <p:oleObj name="think-cell Slide" r:id="rId17" imgW="572" imgH="429" progId="TCLayout.ActiveDocument.1">
                  <p:embed/>
                  <p:pic>
                    <p:nvPicPr>
                      <p:cNvPr id="4" name="Object 3" hidden="1"/>
                      <p:cNvPicPr/>
                      <p:nvPr/>
                    </p:nvPicPr>
                    <p:blipFill>
                      <a:blip r:embed="rId1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1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E356557-8965-152C-F6BC-3D6E9DCD498E}"/>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2B8337A-BC42-45D0-E611-02077DD76FA6}"/>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7DF36E0E-9AD2-FE6C-7DDD-F8790449D42C}"/>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7DBF607-E5DF-BD11-693C-FA7DB30A604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617962C-CEB8-F244-C698-3CDFA18D2896}"/>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1D8D85EF-F338-A3CF-D6CF-7938BBBEAB4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E77E22B9-375B-BB8E-E1A4-AADEB010AE7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D881F0A2-ABDD-0FEE-5F0C-9A3E0D2E1065}"/>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9FB0FFB5-2FBB-D038-94D2-A7BAAEDE899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8FCC0EC-5FBF-E3B6-59A1-CC7BAE8C221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035DECE-A57A-E5F3-CE60-08C9207DBC0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BBF82C59-737A-F6EE-8D6D-6BA970E4FF04}"/>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94998DEA-3CE5-FF44-8A80-3A9A1E53D527}"/>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10D4BF8-9D13-DD1B-A935-FDA7206D9DE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676861780"/>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4" name="Object 3"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E356557-8965-152C-F6BC-3D6E9DCD498E}"/>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2B8337A-BC42-45D0-E611-02077DD76FA6}"/>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7DF36E0E-9AD2-FE6C-7DDD-F8790449D42C}"/>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7DBF607-E5DF-BD11-693C-FA7DB30A604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617962C-CEB8-F244-C698-3CDFA18D2896}"/>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1D8D85EF-F338-A3CF-D6CF-7938BBBEAB4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E77E22B9-375B-BB8E-E1A4-AADEB010AE7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D881F0A2-ABDD-0FEE-5F0C-9A3E0D2E1065}"/>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9FB0FFB5-2FBB-D038-94D2-A7BAAEDE899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8FCC0EC-5FBF-E3B6-59A1-CC7BAE8C221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035DECE-A57A-E5F3-CE60-08C9207DBC0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BBF82C59-737A-F6EE-8D6D-6BA970E4FF04}"/>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94998DEA-3CE5-FF44-8A80-3A9A1E53D527}"/>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10D4BF8-9D13-DD1B-A935-FDA7206D9DE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3338531458"/>
      </p:ext>
    </p:extLst>
  </p:cSld>
  <p:clrMap bg1="lt1" tx1="dk1" bg2="lt2" tx2="dk2" accent1="accent1" accent2="accent2" accent3="accent3" accent4="accent4" accent5="accent5" accent6="accent6" hlink="hlink" folHlink="folHlink"/>
  <p:sldLayoutIdLst>
    <p:sldLayoutId id="2147484402" r:id="rId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380784321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4" name="Object 3"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76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GB" sz="600" b="0" baseline="0" smtClean="0">
                <a:latin typeface="Arial" panose="020B0604020202020204" pitchFamily="34" charset="0"/>
                <a:cs typeface="Arial" panose="020B0604020202020204" pitchFamily="34" charset="0"/>
              </a:defRPr>
            </a:lvl1pPr>
          </a:lstStyle>
          <a:p>
            <a:pPr algn="r"/>
            <a:fld id="{CC6EE8D8-BDE1-7940-A77B-94F3F186491E}" type="slidenum">
              <a:rPr lang="en-US" smtClean="0"/>
              <a:pPr algn="r"/>
              <a:t>‹#›</a:t>
            </a:fld>
            <a:endParaRPr lang="en-US"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229AD1AD-FAD2-6859-91A2-A8E47A236554}"/>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FC7B7CF3-CDBA-6BF4-41D3-4422B351D23A}"/>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A06ED368-A94B-6301-73A1-5F7A15A82F39}"/>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375522D4-943A-752C-D7D3-4931A96800C7}"/>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A5CE3266-D23C-090B-21E0-DEC58EA6947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325DDA9-5A95-9374-C329-8775C834A09D}"/>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6104BAD7-2E22-3CD8-CEDE-868118241173}"/>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26662700-3881-4265-2E7F-84B70E287261}"/>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74A82674-7909-9902-824B-378CBCF7CFB7}"/>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8AEA0C56-3CB4-D87B-6C51-C07A85E59B56}"/>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5C9532C8-C2AE-C844-0221-54141104C9B7}"/>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BC51498-B378-12F0-B4ED-BBABA748EB9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137AEB32-6E07-1826-E7E1-E4DCFD487AF2}"/>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22373D77-951D-5326-7C27-B90EC0699E5B}"/>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2288A95-09D5-E409-CCB8-F2CADB89D36A}"/>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58920BBF-9BAB-310D-FB72-B1BDA09344B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2780079681"/>
      </p:ext>
    </p:extLst>
  </p:cSld>
  <p:clrMap bg1="lt1" tx1="dk1" bg2="lt2" tx2="dk2" accent1="accent1" accent2="accent2" accent3="accent3" accent4="accent4" accent5="accent5" accent6="accent6" hlink="hlink" folHlink="folHlink"/>
  <p:sldLayoutIdLst>
    <p:sldLayoutId id="2147484252" r:id="rId1"/>
    <p:sldLayoutId id="2147484404" r:id="rId2"/>
    <p:sldLayoutId id="2147484253" r:id="rId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126.xml"/><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24.xml"/><Relationship Id="rId6" Type="http://schemas.openxmlformats.org/officeDocument/2006/relationships/hyperlink" Target="https://portal.pciwoodmac.com/content/pages/login.aspx?signout=true" TargetMode="External"/><Relationship Id="rId5" Type="http://schemas.openxmlformats.org/officeDocument/2006/relationships/image" Target="../media/image16.emf"/><Relationship Id="rId4" Type="http://schemas.openxmlformats.org/officeDocument/2006/relationships/oleObject" Target="../embeddings/oleObject62.bin"/></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22.sv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2.svg"/><Relationship Id="rId2" Type="http://schemas.openxmlformats.org/officeDocument/2006/relationships/image" Target="../media/image23.png"/><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125.xml"/><Relationship Id="rId5" Type="http://schemas.openxmlformats.org/officeDocument/2006/relationships/image" Target="../media/image16.emf"/><Relationship Id="rId4" Type="http://schemas.openxmlformats.org/officeDocument/2006/relationships/oleObject" Target="../embeddings/oleObject63.bin"/></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1.png"/><Relationship Id="rId1" Type="http://schemas.openxmlformats.org/officeDocument/2006/relationships/slideLayout" Target="../slideLayouts/slideLayout3.xml"/><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2.svg"/><Relationship Id="rId2" Type="http://schemas.openxmlformats.org/officeDocument/2006/relationships/image" Target="../media/image36.png"/><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6C49DBE-CE24-4B76-28E9-0D69A75B81F2}"/>
              </a:ext>
            </a:extLst>
          </p:cNvPr>
          <p:cNvSpPr>
            <a:spLocks noGrp="1"/>
          </p:cNvSpPr>
          <p:nvPr>
            <p:ph type="body" idx="1"/>
          </p:nvPr>
        </p:nvSpPr>
        <p:spPr/>
        <p:txBody>
          <a:bodyPr/>
          <a:lstStyle/>
          <a:p>
            <a:r>
              <a:rPr lang="en-US" dirty="0"/>
              <a:t>How to download reports from the Wood Mackenzie Chemicals Portal</a:t>
            </a:r>
            <a:endParaRPr lang="en-CA" dirty="0"/>
          </a:p>
        </p:txBody>
      </p:sp>
      <p:pic>
        <p:nvPicPr>
          <p:cNvPr id="5" name="Picture 2">
            <a:extLst>
              <a:ext uri="{FF2B5EF4-FFF2-40B4-BE49-F238E27FC236}">
                <a16:creationId xmlns:a16="http://schemas.microsoft.com/office/drawing/2014/main" id="{AF346AE4-68B4-4C77-424B-BB65156054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049" y="2194605"/>
            <a:ext cx="4464951" cy="497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51129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E1837751-D0A8-5757-EE05-735848410A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9" name="Object 28" hidden="1">
                        <a:extLst>
                          <a:ext uri="{FF2B5EF4-FFF2-40B4-BE49-F238E27FC236}">
                            <a16:creationId xmlns:a16="http://schemas.microsoft.com/office/drawing/2014/main" id="{E1837751-D0A8-5757-EE05-735848410A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52">
            <a:extLst>
              <a:ext uri="{FF2B5EF4-FFF2-40B4-BE49-F238E27FC236}">
                <a16:creationId xmlns:a16="http://schemas.microsoft.com/office/drawing/2014/main" id="{43870E80-B1EC-81C4-EBEF-CB473FBEFAB3}"/>
              </a:ext>
            </a:extLst>
          </p:cNvPr>
          <p:cNvSpPr txBox="1">
            <a:spLocks/>
          </p:cNvSpPr>
          <p:nvPr/>
        </p:nvSpPr>
        <p:spPr>
          <a:xfrm>
            <a:off x="9409444" y="6530985"/>
            <a:ext cx="130427" cy="161583"/>
          </a:xfrm>
          <a:prstGeom prst="rect">
            <a:avLst/>
          </a:prstGeom>
        </p:spPr>
        <p:txBody>
          <a:bodyPr vert="horz" wrap="square" lIns="0" tIns="38100" rIns="0" bIns="0" rtlCol="0">
            <a:spAutoFit/>
          </a:bodyPr>
          <a:ls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a:lstStyle>
          <a:p>
            <a:pPr marL="25400">
              <a:spcBef>
                <a:spcPts val="300"/>
              </a:spcBef>
            </a:pPr>
            <a:fld id="{81D60167-4931-47E6-BA6A-407CBD079E47}" type="slidenum">
              <a:rPr lang="en-CA" smtClean="0"/>
              <a:pPr marL="25400">
                <a:spcBef>
                  <a:spcPts val="300"/>
                </a:spcBef>
              </a:pPr>
              <a:t>10</a:t>
            </a:fld>
            <a:endParaRPr lang="en-CA" dirty="0"/>
          </a:p>
        </p:txBody>
      </p:sp>
      <p:sp>
        <p:nvSpPr>
          <p:cNvPr id="8" name="object 52">
            <a:extLst>
              <a:ext uri="{FF2B5EF4-FFF2-40B4-BE49-F238E27FC236}">
                <a16:creationId xmlns:a16="http://schemas.microsoft.com/office/drawing/2014/main" id="{8B1A38C8-EA67-491F-1BDE-B86848D77902}"/>
              </a:ext>
            </a:extLst>
          </p:cNvPr>
          <p:cNvSpPr txBox="1">
            <a:spLocks/>
          </p:cNvSpPr>
          <p:nvPr/>
        </p:nvSpPr>
        <p:spPr>
          <a:xfrm>
            <a:off x="9409444" y="6530985"/>
            <a:ext cx="182245" cy="199390"/>
          </a:xfrm>
          <a:prstGeom prst="rect">
            <a:avLst/>
          </a:prstGeom>
        </p:spPr>
        <p:txBody>
          <a:bodyPr vert="horz" wrap="square" lIns="0" tIns="38100" rIns="0" bIns="0" rtlCol="0">
            <a:spAutoFit/>
          </a:bodyPr>
          <a:ls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a:lstStyle>
          <a:p>
            <a:pPr marL="25400">
              <a:spcBef>
                <a:spcPts val="300"/>
              </a:spcBef>
            </a:pPr>
            <a:fld id="{81D60167-4931-47E6-BA6A-407CBD079E47}" type="slidenum">
              <a:rPr lang="en-CA" smtClean="0"/>
              <a:pPr marL="25400">
                <a:spcBef>
                  <a:spcPts val="300"/>
                </a:spcBef>
              </a:pPr>
              <a:t>10</a:t>
            </a:fld>
            <a:endParaRPr lang="en-CA" dirty="0"/>
          </a:p>
        </p:txBody>
      </p:sp>
      <p:sp>
        <p:nvSpPr>
          <p:cNvPr id="2" name="Title 2">
            <a:extLst>
              <a:ext uri="{FF2B5EF4-FFF2-40B4-BE49-F238E27FC236}">
                <a16:creationId xmlns:a16="http://schemas.microsoft.com/office/drawing/2014/main" id="{68A0F7A3-4E71-2774-180B-C77AE003BFD0}"/>
              </a:ext>
            </a:extLst>
          </p:cNvPr>
          <p:cNvSpPr>
            <a:spLocks noGrp="1"/>
          </p:cNvSpPr>
          <p:nvPr>
            <p:ph type="title"/>
          </p:nvPr>
        </p:nvSpPr>
        <p:spPr>
          <a:xfrm>
            <a:off x="152400" y="447675"/>
            <a:ext cx="8842248" cy="440075"/>
          </a:xfrm>
        </p:spPr>
        <p:txBody>
          <a:bodyPr vert="horz"/>
          <a:lstStyle/>
          <a:p>
            <a:r>
              <a:rPr lang="en-GB" dirty="0"/>
              <a:t>Disclaimer</a:t>
            </a:r>
            <a:endParaRPr lang="en-US" dirty="0"/>
          </a:p>
        </p:txBody>
      </p:sp>
      <p:sp>
        <p:nvSpPr>
          <p:cNvPr id="3" name="Text Placeholder 4">
            <a:extLst>
              <a:ext uri="{FF2B5EF4-FFF2-40B4-BE49-F238E27FC236}">
                <a16:creationId xmlns:a16="http://schemas.microsoft.com/office/drawing/2014/main" id="{577311A6-7358-CFAF-F9AA-879A6D4B6207}"/>
              </a:ext>
            </a:extLst>
          </p:cNvPr>
          <p:cNvSpPr>
            <a:spLocks noGrp="1"/>
          </p:cNvSpPr>
          <p:nvPr>
            <p:ph type="body" idx="1"/>
          </p:nvPr>
        </p:nvSpPr>
        <p:spPr>
          <a:xfrm>
            <a:off x="152400" y="899813"/>
            <a:ext cx="8842248" cy="274637"/>
          </a:xfrm>
        </p:spPr>
        <p:txBody>
          <a:bodyPr/>
          <a:lstStyle/>
          <a:p>
            <a:r>
              <a:rPr lang="en-GB" dirty="0"/>
              <a:t>Strictly Private &amp; Confidential</a:t>
            </a:r>
            <a:endParaRPr lang="en-US" dirty="0"/>
          </a:p>
        </p:txBody>
      </p:sp>
      <p:sp>
        <p:nvSpPr>
          <p:cNvPr id="4" name="Text Placeholder 12">
            <a:extLst>
              <a:ext uri="{FF2B5EF4-FFF2-40B4-BE49-F238E27FC236}">
                <a16:creationId xmlns:a16="http://schemas.microsoft.com/office/drawing/2014/main" id="{FCB8B0F8-6750-CFBB-9191-84585D4262C4}"/>
              </a:ext>
            </a:extLst>
          </p:cNvPr>
          <p:cNvSpPr txBox="1">
            <a:spLocks/>
          </p:cNvSpPr>
          <p:nvPr/>
        </p:nvSpPr>
        <p:spPr>
          <a:xfrm>
            <a:off x="152400" y="1186513"/>
            <a:ext cx="5151120" cy="2932263"/>
          </a:xfrm>
          <a:prstGeom prst="rect">
            <a:avLst/>
          </a:prstGeom>
        </p:spPr>
        <p:txBody>
          <a:bodyPr vert="horz" lIns="0" tIns="0" rIns="0" bIns="0" rtlCol="0">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900" dirty="0"/>
              <a:t>These materials, including any updates to them, are published by and remain subject to the copyright of the Wood Mackenzie group ("Wood Mackenzie"), or its third-party licensors (“</a:t>
            </a:r>
            <a:r>
              <a:rPr lang="en-US" sz="900" dirty="0" err="1"/>
              <a:t>Licensrs</a:t>
            </a:r>
            <a:r>
              <a:rPr lang="en-US" sz="900" dirty="0"/>
              <a:t>”) as relevant, and are made available to clients of Wood Mackenzie under terms agreed between Wood Mackenzie and those clients. The use of these materials is governed by the terms and conditions of the agreement under which they were provided. The content and conclusions contained are confidential and may not be disclosed to any other person without Wood Mackenzie's prior written permission. Wood Mackenzie makes no warranty or representation about the accuracy or completeness of the information and data contained in these materials, which are provided 'as is'. The opinions expressed in these materials are those of Wood Mackenzie, and do not necessarily represent our Licensors’ position or views. Nothing contained in them constitutes an offer to buy or to sell securities, or investment advice. Wood Mackenzie's products do not provide a comprehensive analysis of the financial position or prospects of any company or entity and nothing in any such product should be taken as comment regarding the value of the securities of any entity. If, notwithstanding the foregoing, you or any other person relies upon these materials in any way, Wood Mackenzie does not accept, and hereby disclaims to the extent permitted by law, all liability for any loss and damage suffered arising in connection with such reliance. </a:t>
            </a:r>
          </a:p>
          <a:p>
            <a:r>
              <a:rPr lang="en-US" sz="900" dirty="0"/>
              <a:t>Copyright © 2023, Wood Mackenzie Limited. All rights reserved.</a:t>
            </a:r>
          </a:p>
        </p:txBody>
      </p:sp>
    </p:spTree>
    <p:extLst>
      <p:ext uri="{BB962C8B-B14F-4D97-AF65-F5344CB8AC3E}">
        <p14:creationId xmlns:p14="http://schemas.microsoft.com/office/powerpoint/2010/main" val="19338327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766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a:extLst>
              <a:ext uri="{FF2B5EF4-FFF2-40B4-BE49-F238E27FC236}">
                <a16:creationId xmlns:a16="http://schemas.microsoft.com/office/drawing/2014/main" id="{4CC920E5-E462-B5ED-6EB7-230BA205C2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2215439"/>
            <a:ext cx="4750164" cy="298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9" name="Object 28" hidden="1">
            <a:extLst>
              <a:ext uri="{FF2B5EF4-FFF2-40B4-BE49-F238E27FC236}">
                <a16:creationId xmlns:a16="http://schemas.microsoft.com/office/drawing/2014/main" id="{E1837751-D0A8-5757-EE05-735848410A34}"/>
              </a:ext>
            </a:extLst>
          </p:cNvPr>
          <p:cNvGraphicFramePr>
            <a:graphicFrameLocks noChangeAspect="1"/>
          </p:cNvGraphicFramePr>
          <p:nvPr>
            <p:custDataLst>
              <p:tags r:id="rId1"/>
            </p:custDataLst>
            <p:extLst>
              <p:ext uri="{D42A27DB-BD31-4B8C-83A1-F6EECF244321}">
                <p14:modId xmlns:p14="http://schemas.microsoft.com/office/powerpoint/2010/main" val="1377444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9" name="Object 28" hidden="1">
                        <a:extLst>
                          <a:ext uri="{FF2B5EF4-FFF2-40B4-BE49-F238E27FC236}">
                            <a16:creationId xmlns:a16="http://schemas.microsoft.com/office/drawing/2014/main" id="{E1837751-D0A8-5757-EE05-735848410A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B27B9727-3D8B-955C-0605-979EDE357702}"/>
              </a:ext>
            </a:extLst>
          </p:cNvPr>
          <p:cNvSpPr>
            <a:spLocks noGrp="1"/>
          </p:cNvSpPr>
          <p:nvPr>
            <p:ph type="body" idx="20"/>
          </p:nvPr>
        </p:nvSpPr>
        <p:spPr>
          <a:xfrm>
            <a:off x="152400" y="2270724"/>
            <a:ext cx="231775" cy="252000"/>
          </a:xfrm>
          <a:solidFill>
            <a:schemeClr val="bg1"/>
          </a:solidFill>
        </p:spPr>
        <p:txBody>
          <a:bodyPr/>
          <a:lstStyle/>
          <a:p>
            <a:r>
              <a:rPr lang="en-GB" dirty="0"/>
              <a:t>01</a:t>
            </a:r>
            <a:endParaRPr lang="en-US" dirty="0"/>
          </a:p>
        </p:txBody>
      </p:sp>
      <p:sp>
        <p:nvSpPr>
          <p:cNvPr id="13" name="Text Placeholder 12">
            <a:extLst>
              <a:ext uri="{FF2B5EF4-FFF2-40B4-BE49-F238E27FC236}">
                <a16:creationId xmlns:a16="http://schemas.microsoft.com/office/drawing/2014/main" id="{DCA05B3A-1686-0F09-9010-DBB028584F22}"/>
              </a:ext>
            </a:extLst>
          </p:cNvPr>
          <p:cNvSpPr>
            <a:spLocks noGrp="1"/>
          </p:cNvSpPr>
          <p:nvPr>
            <p:ph type="body" sz="quarter" idx="29"/>
          </p:nvPr>
        </p:nvSpPr>
        <p:spPr>
          <a:xfrm>
            <a:off x="494507" y="2629100"/>
            <a:ext cx="4488459" cy="262115"/>
          </a:xfrm>
        </p:spPr>
        <p:txBody>
          <a:bodyPr/>
          <a:lstStyle/>
          <a:p>
            <a:r>
              <a:rPr lang="en-GB" dirty="0">
                <a:hlinkClick r:id="rId6"/>
              </a:rPr>
              <a:t>https://portal.pciwoodmac.com/content/pages/login.aspx?signout=true</a:t>
            </a:r>
            <a:endParaRPr lang="en-GB" dirty="0"/>
          </a:p>
          <a:p>
            <a:endParaRPr lang="en-US" dirty="0"/>
          </a:p>
        </p:txBody>
      </p:sp>
      <p:pic>
        <p:nvPicPr>
          <p:cNvPr id="35" name="Picture 4">
            <a:extLst>
              <a:ext uri="{FF2B5EF4-FFF2-40B4-BE49-F238E27FC236}">
                <a16:creationId xmlns:a16="http://schemas.microsoft.com/office/drawing/2014/main" id="{EFFB7037-A74E-8DB1-4F86-192D5E20995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407" y="1241555"/>
            <a:ext cx="6373031" cy="766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5">
            <a:extLst>
              <a:ext uri="{FF2B5EF4-FFF2-40B4-BE49-F238E27FC236}">
                <a16:creationId xmlns:a16="http://schemas.microsoft.com/office/drawing/2014/main" id="{68D66EB4-7869-8EC8-2D9C-DE122CB8E0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07" y="213229"/>
            <a:ext cx="4931560" cy="5500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9310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a:extLst>
              <a:ext uri="{FF2B5EF4-FFF2-40B4-BE49-F238E27FC236}">
                <a16:creationId xmlns:a16="http://schemas.microsoft.com/office/drawing/2014/main" id="{6D4EBD3D-11EE-24C4-68AE-68B3E7F58F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572264"/>
            <a:ext cx="6410105" cy="298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 Placeholder 9">
            <a:extLst>
              <a:ext uri="{FF2B5EF4-FFF2-40B4-BE49-F238E27FC236}">
                <a16:creationId xmlns:a16="http://schemas.microsoft.com/office/drawing/2014/main" id="{A7AB231A-CE4B-51C1-87D4-B8483F9C0292}"/>
              </a:ext>
            </a:extLst>
          </p:cNvPr>
          <p:cNvSpPr txBox="1">
            <a:spLocks/>
          </p:cNvSpPr>
          <p:nvPr/>
        </p:nvSpPr>
        <p:spPr>
          <a:xfrm>
            <a:off x="152400" y="624300"/>
            <a:ext cx="231775" cy="252000"/>
          </a:xfrm>
          <a:prstGeom prst="rect">
            <a:avLst/>
          </a:prstGeom>
          <a:solidFill>
            <a:schemeClr val="bg1"/>
          </a:solidFill>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4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CA" dirty="0"/>
              <a:t>02</a:t>
            </a:r>
          </a:p>
        </p:txBody>
      </p:sp>
      <p:pic>
        <p:nvPicPr>
          <p:cNvPr id="30" name="Picture 29">
            <a:extLst>
              <a:ext uri="{FF2B5EF4-FFF2-40B4-BE49-F238E27FC236}">
                <a16:creationId xmlns:a16="http://schemas.microsoft.com/office/drawing/2014/main" id="{AAA1AC7D-7645-AD03-EFF0-5C682B5B9947}"/>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366947" y="966167"/>
            <a:ext cx="6410105" cy="3696979"/>
          </a:xfrm>
          <a:prstGeom prst="rect">
            <a:avLst/>
          </a:prstGeom>
          <a:noFill/>
          <a:ln>
            <a:noFill/>
          </a:ln>
        </p:spPr>
      </p:pic>
      <p:sp>
        <p:nvSpPr>
          <p:cNvPr id="31" name="TextBox 30">
            <a:extLst>
              <a:ext uri="{FF2B5EF4-FFF2-40B4-BE49-F238E27FC236}">
                <a16:creationId xmlns:a16="http://schemas.microsoft.com/office/drawing/2014/main" id="{1FD0FCF4-BEBC-1A6B-C3C0-B62DAF9F1DF6}"/>
              </a:ext>
            </a:extLst>
          </p:cNvPr>
          <p:cNvSpPr txBox="1"/>
          <p:nvPr/>
        </p:nvSpPr>
        <p:spPr>
          <a:xfrm>
            <a:off x="1421169" y="966167"/>
            <a:ext cx="1378515" cy="356773"/>
          </a:xfrm>
          <a:prstGeom prst="rect">
            <a:avLst/>
          </a:prstGeom>
          <a:solidFill>
            <a:srgbClr val="2F4380"/>
          </a:solidFill>
        </p:spPr>
        <p:txBody>
          <a:bodyPr wrap="square" rtlCol="0">
            <a:spAutoFit/>
          </a:bodyPr>
          <a:lstStyle/>
          <a:p>
            <a:endParaRPr lang="en-CA" dirty="0"/>
          </a:p>
        </p:txBody>
      </p:sp>
      <p:pic>
        <p:nvPicPr>
          <p:cNvPr id="33" name="Graphic 32">
            <a:extLst>
              <a:ext uri="{FF2B5EF4-FFF2-40B4-BE49-F238E27FC236}">
                <a16:creationId xmlns:a16="http://schemas.microsoft.com/office/drawing/2014/main" id="{70862FF2-8674-1FC9-ADC4-A2AB21B828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21169" y="966167"/>
            <a:ext cx="1266255" cy="424483"/>
          </a:xfrm>
          <a:prstGeom prst="rect">
            <a:avLst/>
          </a:prstGeom>
        </p:spPr>
      </p:pic>
    </p:spTree>
    <p:extLst>
      <p:ext uri="{BB962C8B-B14F-4D97-AF65-F5344CB8AC3E}">
        <p14:creationId xmlns:p14="http://schemas.microsoft.com/office/powerpoint/2010/main" val="4117567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803204E2-3045-23B1-530B-8CD7881B8F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552505"/>
            <a:ext cx="1032391" cy="395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 Placeholder 9">
            <a:extLst>
              <a:ext uri="{FF2B5EF4-FFF2-40B4-BE49-F238E27FC236}">
                <a16:creationId xmlns:a16="http://schemas.microsoft.com/office/drawing/2014/main" id="{A7AB231A-CE4B-51C1-87D4-B8483F9C0292}"/>
              </a:ext>
            </a:extLst>
          </p:cNvPr>
          <p:cNvSpPr txBox="1">
            <a:spLocks/>
          </p:cNvSpPr>
          <p:nvPr/>
        </p:nvSpPr>
        <p:spPr>
          <a:xfrm>
            <a:off x="152400" y="624300"/>
            <a:ext cx="231775" cy="252000"/>
          </a:xfrm>
          <a:prstGeom prst="rect">
            <a:avLst/>
          </a:prstGeom>
          <a:solidFill>
            <a:schemeClr val="bg1"/>
          </a:solidFill>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4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CA" dirty="0"/>
              <a:t>03</a:t>
            </a:r>
          </a:p>
        </p:txBody>
      </p:sp>
      <p:pic>
        <p:nvPicPr>
          <p:cNvPr id="3" name="Picture 7">
            <a:extLst>
              <a:ext uri="{FF2B5EF4-FFF2-40B4-BE49-F238E27FC236}">
                <a16:creationId xmlns:a16="http://schemas.microsoft.com/office/drawing/2014/main" id="{5B8DD204-27C5-E71E-AC28-D6A1E96B65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358" y="984554"/>
            <a:ext cx="1932887" cy="3146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8">
            <a:extLst>
              <a:ext uri="{FF2B5EF4-FFF2-40B4-BE49-F238E27FC236}">
                <a16:creationId xmlns:a16="http://schemas.microsoft.com/office/drawing/2014/main" id="{2A44DB9F-B10B-B07E-86F8-29DA98068E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6358" y="1335670"/>
            <a:ext cx="1932887" cy="392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object 52">
            <a:extLst>
              <a:ext uri="{FF2B5EF4-FFF2-40B4-BE49-F238E27FC236}">
                <a16:creationId xmlns:a16="http://schemas.microsoft.com/office/drawing/2014/main" id="{752BDBA3-5CDD-E92C-A156-3B0BFE234499}"/>
              </a:ext>
            </a:extLst>
          </p:cNvPr>
          <p:cNvSpPr txBox="1">
            <a:spLocks/>
          </p:cNvSpPr>
          <p:nvPr/>
        </p:nvSpPr>
        <p:spPr>
          <a:xfrm>
            <a:off x="9409444" y="6530985"/>
            <a:ext cx="130427" cy="161583"/>
          </a:xfrm>
          <a:prstGeom prst="rect">
            <a:avLst/>
          </a:prstGeom>
        </p:spPr>
        <p:txBody>
          <a:bodyPr vert="horz" wrap="square" lIns="0" tIns="38100" rIns="0" bIns="0" rtlCol="0">
            <a:spAutoFit/>
          </a:bodyPr>
          <a:ls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a:lstStyle>
          <a:p>
            <a:pPr marL="25400">
              <a:spcBef>
                <a:spcPts val="300"/>
              </a:spcBef>
            </a:pPr>
            <a:fld id="{81D60167-4931-47E6-BA6A-407CBD079E47}" type="slidenum">
              <a:rPr lang="en-CA" smtClean="0"/>
              <a:pPr marL="25400">
                <a:spcBef>
                  <a:spcPts val="300"/>
                </a:spcBef>
              </a:pPr>
              <a:t>4</a:t>
            </a:fld>
            <a:endParaRPr lang="en-CA" dirty="0"/>
          </a:p>
        </p:txBody>
      </p:sp>
      <p:pic>
        <p:nvPicPr>
          <p:cNvPr id="6" name="Picture 5" descr="D:\Users\luojin\Downloads\portal\Wood Mackenzie Chemicals Portal Home.png">
            <a:extLst>
              <a:ext uri="{FF2B5EF4-FFF2-40B4-BE49-F238E27FC236}">
                <a16:creationId xmlns:a16="http://schemas.microsoft.com/office/drawing/2014/main" id="{3F7D7165-66D4-4770-F55D-BB2E2E63517A}"/>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68626" y="95322"/>
            <a:ext cx="5419016" cy="4830774"/>
          </a:xfrm>
          <a:prstGeom prst="rect">
            <a:avLst/>
          </a:prstGeom>
          <a:noFill/>
          <a:ln>
            <a:noFill/>
          </a:ln>
        </p:spPr>
      </p:pic>
      <p:sp>
        <p:nvSpPr>
          <p:cNvPr id="7" name="TextBox 6">
            <a:extLst>
              <a:ext uri="{FF2B5EF4-FFF2-40B4-BE49-F238E27FC236}">
                <a16:creationId xmlns:a16="http://schemas.microsoft.com/office/drawing/2014/main" id="{F88A8FF8-3C03-283C-EC76-90CF1CBFA9FF}"/>
              </a:ext>
            </a:extLst>
          </p:cNvPr>
          <p:cNvSpPr txBox="1"/>
          <p:nvPr/>
        </p:nvSpPr>
        <p:spPr>
          <a:xfrm>
            <a:off x="3181327" y="100646"/>
            <a:ext cx="845688" cy="293773"/>
          </a:xfrm>
          <a:prstGeom prst="rect">
            <a:avLst/>
          </a:prstGeom>
          <a:solidFill>
            <a:srgbClr val="2F4380"/>
          </a:solidFill>
        </p:spPr>
        <p:txBody>
          <a:bodyPr wrap="square" rtlCol="0">
            <a:spAutoFit/>
          </a:bodyPr>
          <a:lstStyle/>
          <a:p>
            <a:endParaRPr lang="en-CA" dirty="0"/>
          </a:p>
        </p:txBody>
      </p:sp>
      <p:pic>
        <p:nvPicPr>
          <p:cNvPr id="8" name="Graphic 7">
            <a:extLst>
              <a:ext uri="{FF2B5EF4-FFF2-40B4-BE49-F238E27FC236}">
                <a16:creationId xmlns:a16="http://schemas.microsoft.com/office/drawing/2014/main" id="{C643BFFA-8C4F-CB5B-789E-6F6A5682C1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81327" y="95323"/>
            <a:ext cx="1079501" cy="361878"/>
          </a:xfrm>
          <a:prstGeom prst="rect">
            <a:avLst/>
          </a:prstGeom>
        </p:spPr>
      </p:pic>
    </p:spTree>
    <p:extLst>
      <p:ext uri="{BB962C8B-B14F-4D97-AF65-F5344CB8AC3E}">
        <p14:creationId xmlns:p14="http://schemas.microsoft.com/office/powerpoint/2010/main" val="53576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9B188137-8631-78FE-3091-3E4F4D5B87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577391"/>
            <a:ext cx="5970104" cy="29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 Placeholder 9">
            <a:extLst>
              <a:ext uri="{FF2B5EF4-FFF2-40B4-BE49-F238E27FC236}">
                <a16:creationId xmlns:a16="http://schemas.microsoft.com/office/drawing/2014/main" id="{A7AB231A-CE4B-51C1-87D4-B8483F9C0292}"/>
              </a:ext>
            </a:extLst>
          </p:cNvPr>
          <p:cNvSpPr txBox="1">
            <a:spLocks/>
          </p:cNvSpPr>
          <p:nvPr/>
        </p:nvSpPr>
        <p:spPr>
          <a:xfrm>
            <a:off x="152400" y="624300"/>
            <a:ext cx="231775" cy="252000"/>
          </a:xfrm>
          <a:prstGeom prst="rect">
            <a:avLst/>
          </a:prstGeom>
          <a:solidFill>
            <a:schemeClr val="bg1"/>
          </a:solidFill>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4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CA" dirty="0"/>
              <a:t>04</a:t>
            </a:r>
          </a:p>
        </p:txBody>
      </p:sp>
      <p:sp>
        <p:nvSpPr>
          <p:cNvPr id="5" name="object 52">
            <a:extLst>
              <a:ext uri="{FF2B5EF4-FFF2-40B4-BE49-F238E27FC236}">
                <a16:creationId xmlns:a16="http://schemas.microsoft.com/office/drawing/2014/main" id="{752BDBA3-5CDD-E92C-A156-3B0BFE234499}"/>
              </a:ext>
            </a:extLst>
          </p:cNvPr>
          <p:cNvSpPr txBox="1">
            <a:spLocks/>
          </p:cNvSpPr>
          <p:nvPr/>
        </p:nvSpPr>
        <p:spPr>
          <a:xfrm>
            <a:off x="9409444" y="6530985"/>
            <a:ext cx="130427" cy="161583"/>
          </a:xfrm>
          <a:prstGeom prst="rect">
            <a:avLst/>
          </a:prstGeom>
        </p:spPr>
        <p:txBody>
          <a:bodyPr vert="horz" wrap="square" lIns="0" tIns="38100" rIns="0" bIns="0" rtlCol="0">
            <a:spAutoFit/>
          </a:bodyPr>
          <a:ls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a:lstStyle>
          <a:p>
            <a:pPr marL="25400">
              <a:spcBef>
                <a:spcPts val="300"/>
              </a:spcBef>
            </a:pPr>
            <a:fld id="{81D60167-4931-47E6-BA6A-407CBD079E47}" type="slidenum">
              <a:rPr lang="en-CA" smtClean="0"/>
              <a:pPr marL="25400">
                <a:spcBef>
                  <a:spcPts val="300"/>
                </a:spcBef>
              </a:pPr>
              <a:t>5</a:t>
            </a:fld>
            <a:endParaRPr lang="en-CA" dirty="0"/>
          </a:p>
        </p:txBody>
      </p:sp>
      <p:pic>
        <p:nvPicPr>
          <p:cNvPr id="9" name="Picture 4">
            <a:extLst>
              <a:ext uri="{FF2B5EF4-FFF2-40B4-BE49-F238E27FC236}">
                <a16:creationId xmlns:a16="http://schemas.microsoft.com/office/drawing/2014/main" id="{FB3D36EB-3748-28AC-26FA-15F825972F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208" y="875503"/>
            <a:ext cx="2086783" cy="29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object 52">
            <a:extLst>
              <a:ext uri="{FF2B5EF4-FFF2-40B4-BE49-F238E27FC236}">
                <a16:creationId xmlns:a16="http://schemas.microsoft.com/office/drawing/2014/main" id="{CAE3F7C8-CB8A-C82A-740F-D8FC0773C7B8}"/>
              </a:ext>
            </a:extLst>
          </p:cNvPr>
          <p:cNvSpPr txBox="1">
            <a:spLocks/>
          </p:cNvSpPr>
          <p:nvPr/>
        </p:nvSpPr>
        <p:spPr>
          <a:xfrm>
            <a:off x="9409444" y="6530985"/>
            <a:ext cx="182245" cy="199390"/>
          </a:xfrm>
          <a:prstGeom prst="rect">
            <a:avLst/>
          </a:prstGeom>
        </p:spPr>
        <p:txBody>
          <a:bodyPr vert="horz" wrap="square" lIns="0" tIns="38100" rIns="0" bIns="0" rtlCol="0">
            <a:spAutoFit/>
          </a:bodyPr>
          <a:ls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a:lstStyle>
          <a:p>
            <a:pPr marL="25400">
              <a:spcBef>
                <a:spcPts val="300"/>
              </a:spcBef>
            </a:pPr>
            <a:fld id="{81D60167-4931-47E6-BA6A-407CBD079E47}" type="slidenum">
              <a:rPr lang="en-CA" smtClean="0"/>
              <a:pPr marL="25400">
                <a:spcBef>
                  <a:spcPts val="300"/>
                </a:spcBef>
              </a:pPr>
              <a:t>5</a:t>
            </a:fld>
            <a:endParaRPr lang="en-CA" dirty="0"/>
          </a:p>
        </p:txBody>
      </p:sp>
      <p:pic>
        <p:nvPicPr>
          <p:cNvPr id="11" name="Picture 2">
            <a:extLst>
              <a:ext uri="{FF2B5EF4-FFF2-40B4-BE49-F238E27FC236}">
                <a16:creationId xmlns:a16="http://schemas.microsoft.com/office/drawing/2014/main" id="{3853A7B8-B109-629D-0EA7-DFEE8B3693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1387274"/>
            <a:ext cx="8848477" cy="2832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a:extLst>
              <a:ext uri="{FF2B5EF4-FFF2-40B4-BE49-F238E27FC236}">
                <a16:creationId xmlns:a16="http://schemas.microsoft.com/office/drawing/2014/main" id="{9995A642-5B0D-CB04-1FC6-41042B99342B}"/>
              </a:ext>
            </a:extLst>
          </p:cNvPr>
          <p:cNvSpPr txBox="1"/>
          <p:nvPr/>
        </p:nvSpPr>
        <p:spPr>
          <a:xfrm>
            <a:off x="162920" y="1415217"/>
            <a:ext cx="1585602" cy="609225"/>
          </a:xfrm>
          <a:prstGeom prst="rect">
            <a:avLst/>
          </a:prstGeom>
          <a:solidFill>
            <a:srgbClr val="2F4380"/>
          </a:solidFill>
        </p:spPr>
        <p:txBody>
          <a:bodyPr wrap="square" rtlCol="0">
            <a:spAutoFit/>
          </a:bodyPr>
          <a:lstStyle/>
          <a:p>
            <a:endParaRPr lang="en-CA" dirty="0"/>
          </a:p>
        </p:txBody>
      </p:sp>
      <p:pic>
        <p:nvPicPr>
          <p:cNvPr id="13" name="Graphic 12">
            <a:extLst>
              <a:ext uri="{FF2B5EF4-FFF2-40B4-BE49-F238E27FC236}">
                <a16:creationId xmlns:a16="http://schemas.microsoft.com/office/drawing/2014/main" id="{9E3A6092-F5E8-ADAB-C8FA-AD43A0D6D0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2920" y="1386477"/>
            <a:ext cx="2030211" cy="680582"/>
          </a:xfrm>
          <a:prstGeom prst="rect">
            <a:avLst/>
          </a:prstGeom>
        </p:spPr>
      </p:pic>
    </p:spTree>
    <p:extLst>
      <p:ext uri="{BB962C8B-B14F-4D97-AF65-F5344CB8AC3E}">
        <p14:creationId xmlns:p14="http://schemas.microsoft.com/office/powerpoint/2010/main" val="9821101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D59E9C61-DE56-FE37-E222-B4C2376B7A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82" y="425837"/>
            <a:ext cx="6224546" cy="22224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9" name="Object 28" hidden="1">
            <a:extLst>
              <a:ext uri="{FF2B5EF4-FFF2-40B4-BE49-F238E27FC236}">
                <a16:creationId xmlns:a16="http://schemas.microsoft.com/office/drawing/2014/main" id="{E1837751-D0A8-5757-EE05-735848410A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9" name="Object 28" hidden="1">
                        <a:extLst>
                          <a:ext uri="{FF2B5EF4-FFF2-40B4-BE49-F238E27FC236}">
                            <a16:creationId xmlns:a16="http://schemas.microsoft.com/office/drawing/2014/main" id="{E1837751-D0A8-5757-EE05-735848410A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2EBC60F3-A4E8-887E-E7D4-55A28E73299A}"/>
              </a:ext>
            </a:extLst>
          </p:cNvPr>
          <p:cNvSpPr txBox="1">
            <a:spLocks/>
          </p:cNvSpPr>
          <p:nvPr/>
        </p:nvSpPr>
        <p:spPr>
          <a:xfrm>
            <a:off x="152400" y="624300"/>
            <a:ext cx="231775" cy="252000"/>
          </a:xfrm>
          <a:prstGeom prst="rect">
            <a:avLst/>
          </a:prstGeom>
          <a:solidFill>
            <a:schemeClr val="bg1"/>
          </a:solidFill>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4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CA" dirty="0"/>
              <a:t>05</a:t>
            </a:r>
          </a:p>
        </p:txBody>
      </p:sp>
      <p:sp>
        <p:nvSpPr>
          <p:cNvPr id="6" name="object 52">
            <a:extLst>
              <a:ext uri="{FF2B5EF4-FFF2-40B4-BE49-F238E27FC236}">
                <a16:creationId xmlns:a16="http://schemas.microsoft.com/office/drawing/2014/main" id="{43870E80-B1EC-81C4-EBEF-CB473FBEFAB3}"/>
              </a:ext>
            </a:extLst>
          </p:cNvPr>
          <p:cNvSpPr txBox="1">
            <a:spLocks/>
          </p:cNvSpPr>
          <p:nvPr/>
        </p:nvSpPr>
        <p:spPr>
          <a:xfrm>
            <a:off x="9409444" y="6530985"/>
            <a:ext cx="130427" cy="161583"/>
          </a:xfrm>
          <a:prstGeom prst="rect">
            <a:avLst/>
          </a:prstGeom>
        </p:spPr>
        <p:txBody>
          <a:bodyPr vert="horz" wrap="square" lIns="0" tIns="38100" rIns="0" bIns="0" rtlCol="0">
            <a:spAutoFit/>
          </a:bodyPr>
          <a:ls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a:lstStyle>
          <a:p>
            <a:pPr marL="25400">
              <a:spcBef>
                <a:spcPts val="300"/>
              </a:spcBef>
            </a:pPr>
            <a:fld id="{81D60167-4931-47E6-BA6A-407CBD079E47}" type="slidenum">
              <a:rPr lang="en-CA" smtClean="0"/>
              <a:pPr marL="25400">
                <a:spcBef>
                  <a:spcPts val="300"/>
                </a:spcBef>
              </a:pPr>
              <a:t>6</a:t>
            </a:fld>
            <a:endParaRPr lang="en-CA" dirty="0"/>
          </a:p>
        </p:txBody>
      </p:sp>
      <p:sp>
        <p:nvSpPr>
          <p:cNvPr id="8" name="object 52">
            <a:extLst>
              <a:ext uri="{FF2B5EF4-FFF2-40B4-BE49-F238E27FC236}">
                <a16:creationId xmlns:a16="http://schemas.microsoft.com/office/drawing/2014/main" id="{8B1A38C8-EA67-491F-1BDE-B86848D77902}"/>
              </a:ext>
            </a:extLst>
          </p:cNvPr>
          <p:cNvSpPr txBox="1">
            <a:spLocks/>
          </p:cNvSpPr>
          <p:nvPr/>
        </p:nvSpPr>
        <p:spPr>
          <a:xfrm>
            <a:off x="9409444" y="6530985"/>
            <a:ext cx="182245" cy="199390"/>
          </a:xfrm>
          <a:prstGeom prst="rect">
            <a:avLst/>
          </a:prstGeom>
        </p:spPr>
        <p:txBody>
          <a:bodyPr vert="horz" wrap="square" lIns="0" tIns="38100" rIns="0" bIns="0" rtlCol="0">
            <a:spAutoFit/>
          </a:bodyPr>
          <a:ls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a:lstStyle>
          <a:p>
            <a:pPr marL="25400">
              <a:spcBef>
                <a:spcPts val="300"/>
              </a:spcBef>
            </a:pPr>
            <a:fld id="{81D60167-4931-47E6-BA6A-407CBD079E47}" type="slidenum">
              <a:rPr lang="en-CA" smtClean="0"/>
              <a:pPr marL="25400">
                <a:spcBef>
                  <a:spcPts val="300"/>
                </a:spcBef>
              </a:pPr>
              <a:t>6</a:t>
            </a:fld>
            <a:endParaRPr lang="en-CA" dirty="0"/>
          </a:p>
        </p:txBody>
      </p:sp>
    </p:spTree>
    <p:extLst>
      <p:ext uri="{BB962C8B-B14F-4D97-AF65-F5344CB8AC3E}">
        <p14:creationId xmlns:p14="http://schemas.microsoft.com/office/powerpoint/2010/main" val="15048190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373E4F-1AA5-2163-FF6D-B645F96673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6461" y="329751"/>
            <a:ext cx="6871077" cy="4231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7A3159DC-AD97-1DE9-C988-E7F4D2D79050}"/>
              </a:ext>
            </a:extLst>
          </p:cNvPr>
          <p:cNvSpPr txBox="1"/>
          <p:nvPr/>
        </p:nvSpPr>
        <p:spPr>
          <a:xfrm>
            <a:off x="1199309" y="372178"/>
            <a:ext cx="1098618" cy="351391"/>
          </a:xfrm>
          <a:prstGeom prst="rect">
            <a:avLst/>
          </a:prstGeom>
          <a:solidFill>
            <a:srgbClr val="2F4380"/>
          </a:solidFill>
        </p:spPr>
        <p:txBody>
          <a:bodyPr wrap="square" rtlCol="0">
            <a:spAutoFit/>
          </a:bodyPr>
          <a:lstStyle/>
          <a:p>
            <a:endParaRPr lang="en-CA" dirty="0"/>
          </a:p>
        </p:txBody>
      </p:sp>
      <p:pic>
        <p:nvPicPr>
          <p:cNvPr id="13" name="Graphic 12">
            <a:extLst>
              <a:ext uri="{FF2B5EF4-FFF2-40B4-BE49-F238E27FC236}">
                <a16:creationId xmlns:a16="http://schemas.microsoft.com/office/drawing/2014/main" id="{BC74E2F0-61F0-6E3D-208B-28722E467D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6461" y="329751"/>
            <a:ext cx="1306702" cy="438042"/>
          </a:xfrm>
          <a:prstGeom prst="rect">
            <a:avLst/>
          </a:prstGeom>
        </p:spPr>
      </p:pic>
    </p:spTree>
    <p:extLst>
      <p:ext uri="{BB962C8B-B14F-4D97-AF65-F5344CB8AC3E}">
        <p14:creationId xmlns:p14="http://schemas.microsoft.com/office/powerpoint/2010/main" val="3916413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id="{2C21E2C1-7908-84CF-5BF2-CB7F0211BA4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3186"/>
          <a:stretch/>
        </p:blipFill>
        <p:spPr bwMode="auto">
          <a:xfrm>
            <a:off x="315303" y="1216273"/>
            <a:ext cx="8730511" cy="3403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5">
            <a:extLst>
              <a:ext uri="{FF2B5EF4-FFF2-40B4-BE49-F238E27FC236}">
                <a16:creationId xmlns:a16="http://schemas.microsoft.com/office/drawing/2014/main" id="{AD186B96-0A34-4D45-5E4D-89B1B360F5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304" y="69906"/>
            <a:ext cx="946732" cy="4158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6">
            <a:extLst>
              <a:ext uri="{FF2B5EF4-FFF2-40B4-BE49-F238E27FC236}">
                <a16:creationId xmlns:a16="http://schemas.microsoft.com/office/drawing/2014/main" id="{909D2B47-8E0E-C7F6-7C21-5A4FFE059C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304" y="384320"/>
            <a:ext cx="1653515" cy="4158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a:extLst>
              <a:ext uri="{FF2B5EF4-FFF2-40B4-BE49-F238E27FC236}">
                <a16:creationId xmlns:a16="http://schemas.microsoft.com/office/drawing/2014/main" id="{6E50636D-2843-8130-6B6A-5E6B05865A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0964" y="720112"/>
            <a:ext cx="4042011" cy="464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 Placeholder 9">
            <a:extLst>
              <a:ext uri="{FF2B5EF4-FFF2-40B4-BE49-F238E27FC236}">
                <a16:creationId xmlns:a16="http://schemas.microsoft.com/office/drawing/2014/main" id="{55370020-87E2-23A4-B246-3CD2EB8777B0}"/>
              </a:ext>
            </a:extLst>
          </p:cNvPr>
          <p:cNvSpPr txBox="1">
            <a:spLocks/>
          </p:cNvSpPr>
          <p:nvPr/>
        </p:nvSpPr>
        <p:spPr>
          <a:xfrm>
            <a:off x="299401" y="862311"/>
            <a:ext cx="231775" cy="252000"/>
          </a:xfrm>
          <a:prstGeom prst="rect">
            <a:avLst/>
          </a:prstGeom>
          <a:solidFill>
            <a:schemeClr val="bg1"/>
          </a:solidFill>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4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CA" dirty="0"/>
              <a:t>01</a:t>
            </a:r>
          </a:p>
        </p:txBody>
      </p:sp>
    </p:spTree>
    <p:extLst>
      <p:ext uri="{BB962C8B-B14F-4D97-AF65-F5344CB8AC3E}">
        <p14:creationId xmlns:p14="http://schemas.microsoft.com/office/powerpoint/2010/main" val="427445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CE1D478-3CAA-54A8-229D-F8DFE2AA23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607" y="582480"/>
            <a:ext cx="6524199" cy="269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 Placeholder 9">
            <a:extLst>
              <a:ext uri="{FF2B5EF4-FFF2-40B4-BE49-F238E27FC236}">
                <a16:creationId xmlns:a16="http://schemas.microsoft.com/office/drawing/2014/main" id="{A7AB231A-CE4B-51C1-87D4-B8483F9C0292}"/>
              </a:ext>
            </a:extLst>
          </p:cNvPr>
          <p:cNvSpPr txBox="1">
            <a:spLocks/>
          </p:cNvSpPr>
          <p:nvPr/>
        </p:nvSpPr>
        <p:spPr>
          <a:xfrm>
            <a:off x="152400" y="624300"/>
            <a:ext cx="231775" cy="252000"/>
          </a:xfrm>
          <a:prstGeom prst="rect">
            <a:avLst/>
          </a:prstGeom>
          <a:solidFill>
            <a:schemeClr val="bg1"/>
          </a:solidFill>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4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CA" dirty="0"/>
              <a:t>02</a:t>
            </a:r>
          </a:p>
        </p:txBody>
      </p:sp>
      <p:pic>
        <p:nvPicPr>
          <p:cNvPr id="3" name="Picture 3">
            <a:extLst>
              <a:ext uri="{FF2B5EF4-FFF2-40B4-BE49-F238E27FC236}">
                <a16:creationId xmlns:a16="http://schemas.microsoft.com/office/drawing/2014/main" id="{43F98869-EF72-2CEE-6922-1241B07CCE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175" y="918120"/>
            <a:ext cx="2353584" cy="3436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4">
            <a:extLst>
              <a:ext uri="{FF2B5EF4-FFF2-40B4-BE49-F238E27FC236}">
                <a16:creationId xmlns:a16="http://schemas.microsoft.com/office/drawing/2014/main" id="{DB1E4788-5FC8-5B65-78B4-F597B74CA9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9858" y="918120"/>
            <a:ext cx="4757736" cy="3072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5">
            <a:extLst>
              <a:ext uri="{FF2B5EF4-FFF2-40B4-BE49-F238E27FC236}">
                <a16:creationId xmlns:a16="http://schemas.microsoft.com/office/drawing/2014/main" id="{BE6B189D-492B-38EA-8079-7F7DC1EC61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9644" y="1327491"/>
            <a:ext cx="6427950" cy="33345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a:extLst>
              <a:ext uri="{FF2B5EF4-FFF2-40B4-BE49-F238E27FC236}">
                <a16:creationId xmlns:a16="http://schemas.microsoft.com/office/drawing/2014/main" id="{BA582E5D-31F2-8D60-C5F9-6315755142F6}"/>
              </a:ext>
            </a:extLst>
          </p:cNvPr>
          <p:cNvSpPr txBox="1"/>
          <p:nvPr/>
        </p:nvSpPr>
        <p:spPr>
          <a:xfrm>
            <a:off x="1252177" y="1736862"/>
            <a:ext cx="1100736" cy="366174"/>
          </a:xfrm>
          <a:prstGeom prst="rect">
            <a:avLst/>
          </a:prstGeom>
          <a:solidFill>
            <a:srgbClr val="2F4380"/>
          </a:solidFill>
        </p:spPr>
        <p:txBody>
          <a:bodyPr wrap="square" rtlCol="0">
            <a:spAutoFit/>
          </a:bodyPr>
          <a:lstStyle/>
          <a:p>
            <a:endParaRPr lang="en-CA" dirty="0"/>
          </a:p>
        </p:txBody>
      </p:sp>
      <p:pic>
        <p:nvPicPr>
          <p:cNvPr id="7" name="Graphic 6">
            <a:extLst>
              <a:ext uri="{FF2B5EF4-FFF2-40B4-BE49-F238E27FC236}">
                <a16:creationId xmlns:a16="http://schemas.microsoft.com/office/drawing/2014/main" id="{5658D8F4-4BFA-377D-F15B-8FB77BDDDA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6381" y="1691040"/>
            <a:ext cx="1398318" cy="468754"/>
          </a:xfrm>
          <a:prstGeom prst="rect">
            <a:avLst/>
          </a:prstGeom>
        </p:spPr>
      </p:pic>
    </p:spTree>
    <p:extLst>
      <p:ext uri="{BB962C8B-B14F-4D97-AF65-F5344CB8AC3E}">
        <p14:creationId xmlns:p14="http://schemas.microsoft.com/office/powerpoint/2010/main" val="647263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isK0nZ0WIuAY4XUlu7dE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65BB204B-09B0-C740-80C7-E3102FD6109C}"/>
    </a:ext>
  </a:ext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Break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581B1C5F-942B-5F4B-A9B5-63FF47BC5FDE}"/>
    </a:ext>
  </a:extLst>
</a:theme>
</file>

<file path=ppt/theme/theme3.xml><?xml version="1.0" encoding="utf-8"?>
<a:theme xmlns:a="http://schemas.openxmlformats.org/drawingml/2006/main" name="Agenda">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BD94CDA2-48EA-F543-9427-52B5207175A8}"/>
    </a:ext>
  </a:extLst>
</a:theme>
</file>

<file path=ppt/theme/theme4.xml><?xml version="1.0" encoding="utf-8"?>
<a:theme xmlns:a="http://schemas.openxmlformats.org/drawingml/2006/main" name="Presentation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9ECF1537-4820-6442-9D2C-C28335EF4D47}"/>
    </a:ext>
  </a:extLst>
</a:theme>
</file>

<file path=ppt/theme/theme5.xml><?xml version="1.0" encoding="utf-8"?>
<a:theme xmlns:a="http://schemas.openxmlformats.org/drawingml/2006/main" name="Report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3CE4AA6D-0E8F-F643-B31D-30665D9E794A}"/>
    </a:ext>
  </a:extLst>
</a:theme>
</file>

<file path=ppt/theme/theme6.xml><?xml version="1.0" encoding="utf-8"?>
<a:theme xmlns:a="http://schemas.openxmlformats.org/drawingml/2006/main" name="Charts and Data">
  <a:themeElements>
    <a:clrScheme name="WM_2023 Template">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1" id="{421F3D80-FD20-4840-AEFC-6B5C2CFC8CDC}" vid="{4F03EC18-FBFC-B444-BA41-A26BF4D5C282}"/>
    </a:ext>
  </a:extLst>
</a:theme>
</file>

<file path=ppt/theme/theme7.xml><?xml version="1.0" encoding="utf-8"?>
<a:theme xmlns:a="http://schemas.openxmlformats.org/drawingml/2006/main" name="1_Charts and Data without White Space">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1" id="{421F3D80-FD20-4840-AEFC-6B5C2CFC8CDC}" vid="{B6A179B6-869B-CE40-86EE-9E2E2E479174}"/>
    </a:ext>
  </a:extLst>
</a:theme>
</file>

<file path=ppt/theme/theme8.xml><?xml version="1.0" encoding="utf-8"?>
<a:theme xmlns:a="http://schemas.openxmlformats.org/drawingml/2006/main" name="Bio Slide">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1" id="{421F3D80-FD20-4840-AEFC-6B5C2CFC8CDC}" vid="{C9F2E1C3-C534-9643-9FEA-9F67F7D372C5}"/>
    </a:ext>
  </a:extLst>
</a:theme>
</file>

<file path=ppt/theme/theme9.xml><?xml version="1.0" encoding="utf-8"?>
<a:theme xmlns:a="http://schemas.openxmlformats.org/drawingml/2006/main" name="End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F9E1FD2E-BA4D-0943-8111-7E30153A47A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C9A12D594F4146A736B61C75F2A9F0" ma:contentTypeVersion="15" ma:contentTypeDescription="Create a new document." ma:contentTypeScope="" ma:versionID="fc7a8346907fd55c665621a76d4f38f4">
  <xsd:schema xmlns:xsd="http://www.w3.org/2001/XMLSchema" xmlns:xs="http://www.w3.org/2001/XMLSchema" xmlns:p="http://schemas.microsoft.com/office/2006/metadata/properties" xmlns:ns2="5de708c7-6ebf-4b51-a995-ecc64498b673" xmlns:ns3="f7eaa6df-661f-4604-8cff-c91cf36610a5" targetNamespace="http://schemas.microsoft.com/office/2006/metadata/properties" ma:root="true" ma:fieldsID="8f8350c7205ee181bbe5953328098a4c" ns2:_="" ns3:_="">
    <xsd:import namespace="5de708c7-6ebf-4b51-a995-ecc64498b673"/>
    <xsd:import namespace="f7eaa6df-661f-4604-8cff-c91cf36610a5"/>
    <xsd:element name="properties">
      <xsd:complexType>
        <xsd:sequence>
          <xsd:element name="documentManagement">
            <xsd:complexType>
              <xsd:all>
                <xsd:element ref="ns2:SharedWithUsers" minOccurs="0"/>
                <xsd:element ref="ns2:SharedWithDetails" minOccurs="0"/>
                <xsd:element ref="ns3:lcf76f155ced4ddcb4097134ff3c332f" minOccurs="0"/>
                <xsd:element ref="ns2:TaxCatchAll" minOccurs="0"/>
                <xsd:element ref="ns3:MediaServiceMetadata" minOccurs="0"/>
                <xsd:element ref="ns3:MediaServiceFastMetadata"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e708c7-6ebf-4b51-a995-ecc64498b67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2" nillable="true" ma:displayName="Taxonomy Catch All Column" ma:hidden="true" ma:list="{f05cd9bb-e26c-4d4d-b542-f947deadef19}" ma:internalName="TaxCatchAll" ma:showField="CatchAllData" ma:web="5de708c7-6ebf-4b51-a995-ecc64498b67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7eaa6df-661f-4604-8cff-c91cf36610a5" elementFormDefault="qualified">
    <xsd:import namespace="http://schemas.microsoft.com/office/2006/documentManagement/types"/>
    <xsd:import namespace="http://schemas.microsoft.com/office/infopath/2007/PartnerControls"/>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a0cf11a8-953d-4432-81d3-596c7ca2a3c6" ma:termSetId="09814cd3-568e-fe90-9814-8d621ff8fb84" ma:anchorId="fba54fb3-c3e1-fe81-a776-ca4b69148c4d" ma:open="true" ma:isKeyword="false">
      <xsd:complexType>
        <xsd:sequence>
          <xsd:element ref="pc:Terms" minOccurs="0" maxOccurs="1"/>
        </xsd:sequence>
      </xsd:complex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de708c7-6ebf-4b51-a995-ecc64498b673" xsi:nil="true"/>
    <lcf76f155ced4ddcb4097134ff3c332f xmlns="f7eaa6df-661f-4604-8cff-c91cf36610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F0437C7-86C5-41D9-85DF-7872FC6A14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e708c7-6ebf-4b51-a995-ecc64498b673"/>
    <ds:schemaRef ds:uri="f7eaa6df-661f-4604-8cff-c91cf36610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CAF634E-2FA6-4CC4-B099-9376E415D773}">
  <ds:schemaRefs>
    <ds:schemaRef ds:uri="http://schemas.microsoft.com/sharepoint/v3/contenttype/forms"/>
  </ds:schemaRefs>
</ds:datastoreItem>
</file>

<file path=customXml/itemProps3.xml><?xml version="1.0" encoding="utf-8"?>
<ds:datastoreItem xmlns:ds="http://schemas.openxmlformats.org/officeDocument/2006/customXml" ds:itemID="{CB4B98FF-233E-4471-9220-263B6C6062D7}">
  <ds:schemaRefs>
    <ds:schemaRef ds:uri="http://schemas.microsoft.com/office/infopath/2007/PartnerControls"/>
    <ds:schemaRef ds:uri="http://purl.org/dc/dcmitype/"/>
    <ds:schemaRef ds:uri="http://purl.org/dc/elements/1.1/"/>
    <ds:schemaRef ds:uri="f7eaa6df-661f-4604-8cff-c91cf36610a5"/>
    <ds:schemaRef ds:uri="http://schemas.microsoft.com/office/2006/metadata/properties"/>
    <ds:schemaRef ds:uri="http://schemas.microsoft.com/office/2006/documentManagement/types"/>
    <ds:schemaRef ds:uri="http://schemas.openxmlformats.org/package/2006/metadata/core-properties"/>
    <ds:schemaRef ds:uri="5de708c7-6ebf-4b51-a995-ecc64498b673"/>
    <ds:schemaRef ds:uri="http://www.w3.org/XML/1998/namespace"/>
    <ds:schemaRef ds:uri="http://purl.org/dc/terms/"/>
  </ds:schemaRefs>
</ds:datastoreItem>
</file>

<file path=docMetadata/LabelInfo.xml><?xml version="1.0" encoding="utf-8"?>
<clbl:labelList xmlns:clbl="http://schemas.microsoft.com/office/2020/mipLabelMetadata">
  <clbl:label id="{3b07dc1f-22e7-4be1-ac66-a88bf3550222}" enabled="0" method="" siteId="{3b07dc1f-22e7-4be1-ac66-a88bf3550222}" removed="1"/>
</clbl:labelList>
</file>

<file path=docProps/app.xml><?xml version="1.0" encoding="utf-8"?>
<Properties xmlns="http://schemas.openxmlformats.org/officeDocument/2006/extended-properties" xmlns:vt="http://schemas.openxmlformats.org/officeDocument/2006/docPropsVTypes">
  <Template>WoodMac Master Template</Template>
  <TotalTime>130</TotalTime>
  <Words>321</Words>
  <Application>Microsoft Office PowerPoint</Application>
  <PresentationFormat>On-screen Show (16:9)</PresentationFormat>
  <Paragraphs>20</Paragraphs>
  <Slides>11</Slides>
  <Notes>0</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11</vt:i4>
      </vt:variant>
    </vt:vector>
  </HeadingPairs>
  <TitlesOfParts>
    <vt:vector size="25" baseType="lpstr">
      <vt:lpstr>Arial</vt:lpstr>
      <vt:lpstr>Calibri</vt:lpstr>
      <vt:lpstr>Lucida Grande</vt:lpstr>
      <vt:lpstr>Roboto</vt:lpstr>
      <vt:lpstr>Cover Options</vt:lpstr>
      <vt:lpstr>Section Breaks</vt:lpstr>
      <vt:lpstr>Agenda</vt:lpstr>
      <vt:lpstr>Presentation Slides</vt:lpstr>
      <vt:lpstr>Report Slides</vt:lpstr>
      <vt:lpstr>Charts and Data</vt:lpstr>
      <vt:lpstr>1_Charts and Data without White Space</vt:lpstr>
      <vt:lpstr>Bio Slide</vt:lpstr>
      <vt:lpstr>End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claim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urner, Jason</dc:creator>
  <cp:lastModifiedBy>Turner, Jason</cp:lastModifiedBy>
  <cp:revision>1</cp:revision>
  <cp:lastPrinted>2016-07-22T14:54:48Z</cp:lastPrinted>
  <dcterms:created xsi:type="dcterms:W3CDTF">2023-07-17T17:29:08Z</dcterms:created>
  <dcterms:modified xsi:type="dcterms:W3CDTF">2023-07-17T21:3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FB48B65561241B9301ACF99A62021</vt:lpwstr>
  </property>
  <property fmtid="{D5CDD505-2E9C-101B-9397-08002B2CF9AE}" pid="3" name="MediaServiceImageTags">
    <vt:lpwstr/>
  </property>
</Properties>
</file>